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33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tags/tag331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tags/tag332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9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0.xml" ContentType="application/vnd.openxmlformats-officedocument.theme+xml"/>
  <Override PartName="/ppt/tags/tag333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1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2.xml" ContentType="application/vnd.openxmlformats-officedocument.theme+xml"/>
  <Override PartName="/ppt/tags/tag334.xml" ContentType="application/vnd.openxmlformats-officedocument.presentationml.tags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3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4.xml" ContentType="application/vnd.openxmlformats-officedocument.them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5.xml" ContentType="application/vnd.openxmlformats-officedocument.theme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6.xml" ContentType="application/vnd.openxmlformats-officedocument.theme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7.xml" ContentType="application/vnd.openxmlformats-officedocument.theme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8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19.xml" ContentType="application/vnd.openxmlformats-officedocument.theme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20.xml" ContentType="application/vnd.openxmlformats-officedocument.theme+xml"/>
  <Override PartName="/ppt/tags/tag403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21.xml" ContentType="application/vnd.openxmlformats-officedocument.theme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heme/theme22.xml" ContentType="application/vnd.openxmlformats-officedocument.theme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notesSlides/notesSlide1.xml" ContentType="application/vnd.openxmlformats-officedocument.presentationml.notesSlide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3668" r:id="rId2"/>
    <p:sldMasterId id="2147483676" r:id="rId3"/>
    <p:sldMasterId id="2147483701" r:id="rId4"/>
    <p:sldMasterId id="2147483738" r:id="rId5"/>
    <p:sldMasterId id="2147483785" r:id="rId6"/>
    <p:sldMasterId id="2147483789" r:id="rId7"/>
    <p:sldMasterId id="2147483803" r:id="rId8"/>
    <p:sldMasterId id="2147483809" r:id="rId9"/>
    <p:sldMasterId id="2147483828" r:id="rId10"/>
    <p:sldMasterId id="2147483850" r:id="rId11"/>
    <p:sldMasterId id="2147483866" r:id="rId12"/>
    <p:sldMasterId id="2147483870" r:id="rId13"/>
    <p:sldMasterId id="2147483885" r:id="rId14"/>
    <p:sldMasterId id="2147483892" r:id="rId15"/>
    <p:sldMasterId id="2147483899" r:id="rId16"/>
    <p:sldMasterId id="2147483906" r:id="rId17"/>
    <p:sldMasterId id="2147483913" r:id="rId18"/>
    <p:sldMasterId id="2147483925" r:id="rId19"/>
    <p:sldMasterId id="2147483934" r:id="rId20"/>
    <p:sldMasterId id="2147483939" r:id="rId21"/>
  </p:sldMasterIdLst>
  <p:notesMasterIdLst>
    <p:notesMasterId r:id="rId24"/>
  </p:notesMasterIdLst>
  <p:sldIdLst>
    <p:sldId id="1992" r:id="rId22"/>
    <p:sldId id="1989" r:id="rId23"/>
  </p:sldIdLst>
  <p:sldSz cx="10287000" cy="6858000" type="35mm"/>
  <p:notesSz cx="7315200" cy="9601200"/>
  <p:custDataLst>
    <p:tags r:id="rId2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73" userDrawn="1">
          <p15:clr>
            <a:srgbClr val="A4A3A4"/>
          </p15:clr>
        </p15:guide>
        <p15:guide id="2" pos="473" userDrawn="1">
          <p15:clr>
            <a:srgbClr val="A4A3A4"/>
          </p15:clr>
        </p15:guide>
        <p15:guide id="4" orient="horz" pos="913" userDrawn="1">
          <p15:clr>
            <a:srgbClr val="A4A3A4"/>
          </p15:clr>
        </p15:guide>
        <p15:guide id="5" pos="4419" userDrawn="1">
          <p15:clr>
            <a:srgbClr val="A4A3A4"/>
          </p15:clr>
        </p15:guide>
        <p15:guide id="6" pos="4442" userDrawn="1">
          <p15:clr>
            <a:srgbClr val="A4A3A4"/>
          </p15:clr>
        </p15:guide>
        <p15:guide id="7" pos="224" userDrawn="1">
          <p15:clr>
            <a:srgbClr val="A4A3A4"/>
          </p15:clr>
        </p15:guide>
        <p15:guide id="8" orient="horz" pos="1956" userDrawn="1">
          <p15:clr>
            <a:srgbClr val="A4A3A4"/>
          </p15:clr>
        </p15:guide>
        <p15:guide id="9" pos="7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7277"/>
    <a:srgbClr val="FFE7E7"/>
    <a:srgbClr val="EBECED"/>
    <a:srgbClr val="000000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56" autoAdjust="0"/>
    <p:restoredTop sz="92300" autoAdjust="0"/>
  </p:normalViewPr>
  <p:slideViewPr>
    <p:cSldViewPr snapToGrid="0" showGuides="1">
      <p:cViewPr>
        <p:scale>
          <a:sx n="130" d="100"/>
          <a:sy n="130" d="100"/>
        </p:scale>
        <p:origin x="-72" y="552"/>
      </p:cViewPr>
      <p:guideLst>
        <p:guide orient="horz" pos="73"/>
        <p:guide orient="horz" pos="913"/>
        <p:guide orient="horz" pos="1956"/>
        <p:guide pos="473"/>
        <p:guide pos="4419"/>
        <p:guide pos="4442"/>
        <p:guide pos="224"/>
        <p:guide pos="791"/>
      </p:guideLst>
    </p:cSldViewPr>
  </p:slideViewPr>
  <p:outlineViewPr>
    <p:cViewPr>
      <p:scale>
        <a:sx n="33" d="100"/>
        <a:sy n="33" d="100"/>
      </p:scale>
      <p:origin x="0" y="-22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9772"/>
    </p:cViewPr>
  </p:sorterViewPr>
  <p:notesViewPr>
    <p:cSldViewPr snapToGrid="0">
      <p:cViewPr varScale="1">
        <p:scale>
          <a:sx n="48" d="100"/>
          <a:sy n="48" d="100"/>
        </p:scale>
        <p:origin x="-2910" y="-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1"/>
            <a:ext cx="3169920" cy="480060"/>
          </a:xfrm>
          <a:prstGeom prst="rect">
            <a:avLst/>
          </a:prstGeom>
        </p:spPr>
        <p:txBody>
          <a:bodyPr vert="horz" lIns="96630" tIns="48316" rIns="96630" bIns="4831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gray">
          <a:xfrm>
            <a:off x="4143587" y="1"/>
            <a:ext cx="3169920" cy="480060"/>
          </a:xfrm>
          <a:prstGeom prst="rect">
            <a:avLst/>
          </a:prstGeom>
        </p:spPr>
        <p:txBody>
          <a:bodyPr vert="horz" lIns="96630" tIns="48316" rIns="96630" bIns="48316" rtlCol="0"/>
          <a:lstStyle>
            <a:lvl1pPr algn="r">
              <a:defRPr sz="1200"/>
            </a:lvl1pPr>
          </a:lstStyle>
          <a:p>
            <a:fld id="{4BFEA9E9-6050-4733-B1E7-CDF217955658}" type="datetimeFigureOut">
              <a:rPr lang="en-US" smtClean="0"/>
              <a:t>8/26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957263" y="719138"/>
            <a:ext cx="5400675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30" tIns="48316" rIns="96630" bIns="48316" rtlCol="0" anchor="ctr"/>
          <a:lstStyle/>
          <a:p>
            <a:endParaRPr lang="es-E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30" tIns="48316" rIns="96630" bIns="48316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gray"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30" tIns="48316" rIns="96630" bIns="4831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gray"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30" tIns="48316" rIns="96630" bIns="48316" rtlCol="0" anchor="b"/>
          <a:lstStyle>
            <a:lvl1pPr algn="r">
              <a:defRPr sz="1200"/>
            </a:lvl1pPr>
          </a:lstStyle>
          <a:p>
            <a:fld id="{3EB2AE19-CD09-44ED-85EF-CCA023F166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2592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5374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537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5.wmf"/><Relationship Id="rId2" Type="http://schemas.openxmlformats.org/officeDocument/2006/relationships/tags" Target="../tags/tag35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5.wmf"/><Relationship Id="rId2" Type="http://schemas.openxmlformats.org/officeDocument/2006/relationships/tags" Target="../tags/tag36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5.wmf"/><Relationship Id="rId2" Type="http://schemas.openxmlformats.org/officeDocument/2006/relationships/tags" Target="../tags/tag38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5.bin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5.wmf"/><Relationship Id="rId2" Type="http://schemas.openxmlformats.org/officeDocument/2006/relationships/tags" Target="../tags/tag40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.bin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7" Type="http://schemas.openxmlformats.org/officeDocument/2006/relationships/image" Target="../media/image3.jpeg"/><Relationship Id="rId2" Type="http://schemas.openxmlformats.org/officeDocument/2006/relationships/tags" Target="../tags/tag42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0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424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5.xml"/><Relationship Id="rId4" Type="http://schemas.openxmlformats.org/officeDocument/2006/relationships/tags" Target="../tags/tag8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9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4" Type="http://schemas.openxmlformats.org/officeDocument/2006/relationships/tags" Target="../tags/tag10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25.xml"/><Relationship Id="rId4" Type="http://schemas.openxmlformats.org/officeDocument/2006/relationships/tags" Target="../tags/tag124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5" Type="http://schemas.openxmlformats.org/officeDocument/2006/relationships/tags" Target="../tags/tag137.xml"/><Relationship Id="rId4" Type="http://schemas.openxmlformats.org/officeDocument/2006/relationships/tags" Target="../tags/tag136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5" Type="http://schemas.openxmlformats.org/officeDocument/2006/relationships/tags" Target="../tags/tag144.xml"/><Relationship Id="rId4" Type="http://schemas.openxmlformats.org/officeDocument/2006/relationships/tags" Target="../tags/tag14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5" Type="http://schemas.openxmlformats.org/officeDocument/2006/relationships/tags" Target="../tags/tag151.xml"/><Relationship Id="rId4" Type="http://schemas.openxmlformats.org/officeDocument/2006/relationships/tags" Target="../tags/tag150.xml"/><Relationship Id="rId9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57.xml"/><Relationship Id="rId7" Type="http://schemas.openxmlformats.org/officeDocument/2006/relationships/tags" Target="../tags/tag161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5" Type="http://schemas.openxmlformats.org/officeDocument/2006/relationships/tags" Target="../tags/tag159.xml"/><Relationship Id="rId4" Type="http://schemas.openxmlformats.org/officeDocument/2006/relationships/tags" Target="../tags/tag158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5" Type="http://schemas.openxmlformats.org/officeDocument/2006/relationships/tags" Target="../tags/tag166.xml"/><Relationship Id="rId4" Type="http://schemas.openxmlformats.org/officeDocument/2006/relationships/tags" Target="../tags/tag165.xml"/><Relationship Id="rId9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4.xml"/><Relationship Id="rId4" Type="http://schemas.openxmlformats.org/officeDocument/2006/relationships/tags" Target="../tags/tag17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9.xml"/><Relationship Id="rId4" Type="http://schemas.openxmlformats.org/officeDocument/2006/relationships/tags" Target="../tags/tag17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4.xml"/><Relationship Id="rId4" Type="http://schemas.openxmlformats.org/officeDocument/2006/relationships/tags" Target="../tags/tag18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9.xml"/><Relationship Id="rId4" Type="http://schemas.openxmlformats.org/officeDocument/2006/relationships/tags" Target="../tags/tag188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94.xml"/><Relationship Id="rId4" Type="http://schemas.openxmlformats.org/officeDocument/2006/relationships/tags" Target="../tags/tag19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4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5" Type="http://schemas.openxmlformats.org/officeDocument/2006/relationships/tags" Target="../tags/tag205.xml"/><Relationship Id="rId4" Type="http://schemas.openxmlformats.org/officeDocument/2006/relationships/tags" Target="../tags/tag204.xml"/><Relationship Id="rId9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5" Type="http://schemas.openxmlformats.org/officeDocument/2006/relationships/tags" Target="../tags/tag213.xml"/><Relationship Id="rId4" Type="http://schemas.openxmlformats.org/officeDocument/2006/relationships/tags" Target="../tags/tag21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tags" Target="../tags/tag220.xml"/><Relationship Id="rId5" Type="http://schemas.openxmlformats.org/officeDocument/2006/relationships/tags" Target="../tags/tag219.xml"/><Relationship Id="rId4" Type="http://schemas.openxmlformats.org/officeDocument/2006/relationships/tags" Target="../tags/tag21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5" Type="http://schemas.openxmlformats.org/officeDocument/2006/relationships/tags" Target="../tags/tag227.xml"/><Relationship Id="rId4" Type="http://schemas.openxmlformats.org/officeDocument/2006/relationships/tags" Target="../tags/tag22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34.xml"/><Relationship Id="rId4" Type="http://schemas.openxmlformats.org/officeDocument/2006/relationships/tags" Target="../tags/tag233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tags" Target="../tags/tag240.xml"/><Relationship Id="rId5" Type="http://schemas.openxmlformats.org/officeDocument/2006/relationships/tags" Target="../tags/tag239.xml"/><Relationship Id="rId4" Type="http://schemas.openxmlformats.org/officeDocument/2006/relationships/tags" Target="../tags/tag238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tags" Target="../tags/tag247.xml"/><Relationship Id="rId5" Type="http://schemas.openxmlformats.org/officeDocument/2006/relationships/tags" Target="../tags/tag246.xml"/><Relationship Id="rId4" Type="http://schemas.openxmlformats.org/officeDocument/2006/relationships/tags" Target="../tags/tag245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51.xml"/><Relationship Id="rId7" Type="http://schemas.openxmlformats.org/officeDocument/2006/relationships/tags" Target="../tags/tag255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tags" Target="../tags/tag254.xml"/><Relationship Id="rId5" Type="http://schemas.openxmlformats.org/officeDocument/2006/relationships/tags" Target="../tags/tag253.xml"/><Relationship Id="rId4" Type="http://schemas.openxmlformats.org/officeDocument/2006/relationships/tags" Target="../tags/tag252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Relationship Id="rId9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tags" Target="../tags/tag269.xml"/><Relationship Id="rId5" Type="http://schemas.openxmlformats.org/officeDocument/2006/relationships/tags" Target="../tags/tag268.xml"/><Relationship Id="rId4" Type="http://schemas.openxmlformats.org/officeDocument/2006/relationships/tags" Target="../tags/tag267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278.xml"/><Relationship Id="rId3" Type="http://schemas.openxmlformats.org/officeDocument/2006/relationships/tags" Target="../tags/tag273.xml"/><Relationship Id="rId7" Type="http://schemas.openxmlformats.org/officeDocument/2006/relationships/tags" Target="../tags/tag277.xml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5" Type="http://schemas.openxmlformats.org/officeDocument/2006/relationships/tags" Target="../tags/tag275.xml"/><Relationship Id="rId4" Type="http://schemas.openxmlformats.org/officeDocument/2006/relationships/tags" Target="../tags/tag274.xml"/><Relationship Id="rId9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83.xml"/><Relationship Id="rId4" Type="http://schemas.openxmlformats.org/officeDocument/2006/relationships/tags" Target="../tags/tag28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286.xml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88.xml"/><Relationship Id="rId4" Type="http://schemas.openxmlformats.org/officeDocument/2006/relationships/tags" Target="../tags/tag28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93.xml"/><Relationship Id="rId4" Type="http://schemas.openxmlformats.org/officeDocument/2006/relationships/tags" Target="../tags/tag29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296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98.xml"/><Relationship Id="rId4" Type="http://schemas.openxmlformats.org/officeDocument/2006/relationships/tags" Target="../tags/tag29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301.xml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03.xml"/><Relationship Id="rId4" Type="http://schemas.openxmlformats.org/officeDocument/2006/relationships/tags" Target="../tags/tag30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4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4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317.xml"/><Relationship Id="rId3" Type="http://schemas.openxmlformats.org/officeDocument/2006/relationships/tags" Target="../tags/tag312.xml"/><Relationship Id="rId7" Type="http://schemas.openxmlformats.org/officeDocument/2006/relationships/tags" Target="../tags/tag316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5" Type="http://schemas.openxmlformats.org/officeDocument/2006/relationships/tags" Target="../tags/tag314.xml"/><Relationship Id="rId4" Type="http://schemas.openxmlformats.org/officeDocument/2006/relationships/tags" Target="../tags/tag313.xml"/><Relationship Id="rId9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4" Type="http://schemas.openxmlformats.org/officeDocument/2006/relationships/tags" Target="../tags/tag32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326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6" Type="http://schemas.openxmlformats.org/officeDocument/2006/relationships/tags" Target="../tags/tag329.xml"/><Relationship Id="rId5" Type="http://schemas.openxmlformats.org/officeDocument/2006/relationships/tags" Target="../tags/tag328.xml"/><Relationship Id="rId4" Type="http://schemas.openxmlformats.org/officeDocument/2006/relationships/tags" Target="../tags/tag32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346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626798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6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622489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812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1965647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07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8"/>
            <a:ext cx="575071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07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427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4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4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4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7497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371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3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457701" y="104746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684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9144195" y="6477102"/>
            <a:ext cx="642831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86383" y="1406525"/>
            <a:ext cx="416649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16649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84675" y="1930404"/>
            <a:ext cx="416819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2" y="1930404"/>
            <a:ext cx="416819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9144195" y="6477102"/>
            <a:ext cx="642831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Rectangle 15"/>
          <p:cNvSpPr>
            <a:spLocks noChangeArrowheads="1"/>
          </p:cNvSpPr>
          <p:nvPr userDrawn="1"/>
        </p:nvSpPr>
        <p:spPr bwMode="gray">
          <a:xfrm>
            <a:off x="9144195" y="6476022"/>
            <a:ext cx="64283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1" name="Copyright"/>
          <p:cNvSpPr txBox="1">
            <a:spLocks noChangeArrowheads="1"/>
          </p:cNvSpPr>
          <p:nvPr userDrawn="1"/>
        </p:nvSpPr>
        <p:spPr bwMode="gray">
          <a:xfrm>
            <a:off x="493193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sz="700" dirty="0" smtClean="0">
                <a:solidFill>
                  <a:srgbClr val="FFFFFF"/>
                </a:solidFill>
                <a:cs typeface="Arial" charset="0"/>
              </a:rPr>
              <a:t>© Oliver Wyman </a:t>
            </a:r>
            <a:endParaRPr lang="en-GB" sz="7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5796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5847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382124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22837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14838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185840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4006790"/>
            <a:ext cx="8743950" cy="40011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504357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243143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243143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790975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343878"/>
            <a:ext cx="4545212" cy="8309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212365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343878"/>
            <a:ext cx="4546997" cy="8309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212365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781263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440033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050806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277614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978406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584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097937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04172" y="1600201"/>
            <a:ext cx="2868478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256183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10590" y="274639"/>
            <a:ext cx="237603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098909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1184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703131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22837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282479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998866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8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1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06352" indent="0" algn="ctr">
              <a:buNone/>
              <a:defRPr/>
            </a:lvl2pPr>
            <a:lvl3pPr marL="812704" indent="0" algn="ctr">
              <a:buNone/>
              <a:defRPr/>
            </a:lvl3pPr>
            <a:lvl4pPr marL="1219055" indent="0" algn="ctr">
              <a:buNone/>
              <a:defRPr/>
            </a:lvl4pPr>
            <a:lvl5pPr marL="1625407" indent="0" algn="ctr">
              <a:buNone/>
              <a:defRPr/>
            </a:lvl5pPr>
            <a:lvl6pPr marL="2031759" indent="0" algn="ctr">
              <a:buNone/>
              <a:defRPr/>
            </a:lvl6pPr>
            <a:lvl7pPr marL="2438111" indent="0" algn="ctr">
              <a:buNone/>
              <a:defRPr/>
            </a:lvl7pPr>
            <a:lvl8pPr marL="2844462" indent="0" algn="ctr">
              <a:buNone/>
              <a:defRPr/>
            </a:lvl8pPr>
            <a:lvl9pPr marL="3250814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46374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59674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12630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447333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284845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963551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364629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535113"/>
            <a:ext cx="4545212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535113"/>
            <a:ext cx="454699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86750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006718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563676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305397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43231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827817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276522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274639"/>
            <a:ext cx="677227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48570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088640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604939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591449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6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78945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284754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370426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93499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11079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77631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638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6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986946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825698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61417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68530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6954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656619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415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7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70407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603139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25452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11789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87201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316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7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0886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538215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1951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739640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8479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1521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4440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fondo0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500" u="sng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67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131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5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82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6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066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7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51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741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2666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60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2" y="273058"/>
            <a:ext cx="575071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60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986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671297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5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5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5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024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708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2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266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3019" cy="73341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256" y="1406525"/>
            <a:ext cx="422262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22602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255" y="1930404"/>
            <a:ext cx="422261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1" y="1930404"/>
            <a:ext cx="4227712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590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05656" y="2468628"/>
            <a:ext cx="874395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73619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28625" y="270012"/>
            <a:ext cx="478631" cy="42976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30058" y="281086"/>
            <a:ext cx="0" cy="41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00970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218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8625" y="270012"/>
            <a:ext cx="9446112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512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2455979"/>
      </p:ext>
    </p:extLst>
  </p:cSld>
  <p:clrMapOvr>
    <a:masterClrMapping/>
  </p:clrMapOvr>
  <p:transition spd="slow">
    <p:wip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  <a:prstGeom prst="rect">
            <a:avLst/>
          </a:prstGeo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i="1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  <a:prstGeom prst="rect">
            <a:avLst/>
          </a:prstGeo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  <a:prstGeom prst="rect">
            <a:avLst/>
          </a:prstGeo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113393"/>
      </p:ext>
    </p:extLst>
  </p:cSld>
  <p:clrMapOvr>
    <a:masterClrMapping/>
  </p:clrMapOvr>
  <p:transition spd="slow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528860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 cstate="print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28625" y="270012"/>
            <a:ext cx="478631" cy="42976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30058" y="281086"/>
            <a:ext cx="0" cy="41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5974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6" y="634524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6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3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8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 i="1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i="1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519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25517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58552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50488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906204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2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9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2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ltGray">
          <a:xfrm>
            <a:off x="0" y="1"/>
            <a:ext cx="10287000" cy="6858000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77242" y="4756453"/>
            <a:ext cx="5665595" cy="545855"/>
            <a:chOff x="1663" y="3090"/>
            <a:chExt cx="3109" cy="33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90"/>
              <a:ext cx="3109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477242" y="1706294"/>
            <a:ext cx="753326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6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477242" y="3385262"/>
            <a:ext cx="7533266" cy="246221"/>
          </a:xfrm>
        </p:spPr>
        <p:txBody>
          <a:bodyPr wrap="square">
            <a:spAutoFit/>
          </a:bodyPr>
          <a:lstStyle>
            <a:lvl1pPr algn="l">
              <a:defRPr sz="16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16" name="Picture 7" descr="A-Santander-negativo_RGB [Convertido]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ltGray">
          <a:xfrm>
            <a:off x="7789887" y="6226219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3"/>
          <p:cNvSpPr>
            <a:spLocks noChangeArrowheads="1"/>
          </p:cNvSpPr>
          <p:nvPr userDrawn="1"/>
        </p:nvSpPr>
        <p:spPr bwMode="gray">
          <a:xfrm>
            <a:off x="477242" y="6443655"/>
            <a:ext cx="50546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>
                <a:solidFill>
                  <a:srgbClr val="FFFFFF"/>
                </a:solidFill>
              </a:rPr>
              <a:t>Santander Holdings USA</a:t>
            </a:r>
            <a:endParaRPr lang="en-US" sz="20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417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9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73053" y="306074"/>
            <a:ext cx="939207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07007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50446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098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89487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60008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0651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88174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61365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55449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41769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3737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485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6" descr="SOV_lineartRev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8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9" descr="Logo_Peq0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1499FA-1D36-4D85-A29A-76D9DB51C3E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971675" y="6283325"/>
            <a:ext cx="548640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Source: xxx</a:t>
            </a:r>
          </a:p>
        </p:txBody>
      </p:sp>
      <p:sp>
        <p:nvSpPr>
          <p:cNvPr id="12" name="Line 8"/>
          <p:cNvSpPr>
            <a:spLocks noChangeShapeType="1"/>
          </p:cNvSpPr>
          <p:nvPr userDrawn="1"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2149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1337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47622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8544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68478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04481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736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28224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63573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62373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01556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66085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3138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23781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69651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38801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54954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57034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87507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29283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13841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36382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62894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36079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0394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5945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2293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498836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69959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52796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900211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53140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50192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1497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38600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74797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595108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98616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76240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384692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74446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84867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247833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97421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607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05927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953433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3679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7119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10574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55022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fondo0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500" u="sng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67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882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5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238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6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806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7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118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167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140291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020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60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2" y="273058"/>
            <a:ext cx="575071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60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134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5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5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5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912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80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2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16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3019" cy="73341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256" y="1406525"/>
            <a:ext cx="422262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22602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255" y="1930404"/>
            <a:ext cx="422261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1" y="1930404"/>
            <a:ext cx="4227712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055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6914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14562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08879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74"/>
            <a:ext cx="2157413" cy="352426"/>
          </a:xfrm>
          <a:prstGeom prst="rect">
            <a:avLst/>
          </a:prstGeom>
          <a:noFill/>
        </p:spPr>
      </p:pic>
      <p:pic>
        <p:nvPicPr>
          <p:cNvPr id="6" name="Picture 16" descr="SOV_lineartRev"/>
          <p:cNvPicPr>
            <a:picLocks noChangeAspect="1" noChangeArrowheads="1"/>
          </p:cNvPicPr>
          <p:nvPr userDrawn="1"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3" y="6364296"/>
            <a:ext cx="1416249" cy="425451"/>
          </a:xfrm>
          <a:prstGeom prst="rect">
            <a:avLst/>
          </a:prstGeom>
          <a:noFill/>
        </p:spPr>
      </p:pic>
      <p:pic>
        <p:nvPicPr>
          <p:cNvPr id="8" name="Picture 19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36"/>
            <a:ext cx="2157413" cy="352426"/>
          </a:xfrm>
          <a:prstGeom prst="rect">
            <a:avLst/>
          </a:prstGeom>
          <a:noFill/>
        </p:spPr>
      </p:pic>
      <p:pic>
        <p:nvPicPr>
          <p:cNvPr id="9" name="Picture 21" descr="SOV_lineartRev"/>
          <p:cNvPicPr>
            <a:picLocks noChangeAspect="1" noChangeArrowheads="1"/>
          </p:cNvPicPr>
          <p:nvPr userDrawn="1"/>
        </p:nvPicPr>
        <p:blipFill>
          <a:blip r:embed="rId3"/>
          <a:srcRect l="24826"/>
          <a:stretch>
            <a:fillRect/>
          </a:stretch>
        </p:blipFill>
        <p:spPr bwMode="auto">
          <a:xfrm>
            <a:off x="278607" y="6351588"/>
            <a:ext cx="1521619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32" y="381000"/>
            <a:ext cx="9429751" cy="457200"/>
          </a:xfrm>
          <a:prstGeom prst="rect">
            <a:avLst/>
          </a:prstGeom>
        </p:spPr>
        <p:txBody>
          <a:bodyPr lIns="0" tIns="36109" rIns="0" bIns="36109" anchor="b" anchorCtr="0"/>
          <a:lstStyle>
            <a:lvl1pPr>
              <a:defRPr lang="en-US" sz="1800" b="1" dirty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32" y="838200"/>
            <a:ext cx="9429751" cy="5029200"/>
          </a:xfrm>
          <a:prstGeom prst="rect">
            <a:avLst/>
          </a:prstGeom>
        </p:spPr>
        <p:txBody>
          <a:bodyPr lIns="0" tIns="36109" rIns="0" bIns="36109"/>
          <a:lstStyle>
            <a:lvl1pPr>
              <a:lnSpc>
                <a:spcPct val="100000"/>
              </a:lnSpc>
              <a:spcBef>
                <a:spcPts val="316"/>
              </a:spcBef>
              <a:defRPr/>
            </a:lvl1pPr>
            <a:lvl2pPr>
              <a:lnSpc>
                <a:spcPct val="100000"/>
              </a:lnSpc>
              <a:spcBef>
                <a:spcPts val="316"/>
              </a:spcBef>
              <a:defRPr/>
            </a:lvl2pPr>
            <a:lvl3pPr>
              <a:lnSpc>
                <a:spcPct val="100000"/>
              </a:lnSpc>
              <a:spcBef>
                <a:spcPts val="316"/>
              </a:spcBef>
              <a:defRPr/>
            </a:lvl3pPr>
            <a:lvl4pPr>
              <a:lnSpc>
                <a:spcPct val="100000"/>
              </a:lnSpc>
              <a:spcBef>
                <a:spcPts val="316"/>
              </a:spcBef>
              <a:defRPr/>
            </a:lvl4pPr>
            <a:lvl5pPr>
              <a:lnSpc>
                <a:spcPct val="100000"/>
              </a:lnSpc>
              <a:spcBef>
                <a:spcPts val="316"/>
              </a:spcBef>
              <a:buFont typeface="Arial" pitchFamily="34" charset="0"/>
              <a:buChar char="•"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3" name="Picture 10" descr="fondo02"/>
          <p:cNvPicPr>
            <a:picLocks noChangeAspect="1" noChangeArrowheads="1"/>
          </p:cNvPicPr>
          <p:nvPr userDrawn="1"/>
        </p:nvPicPr>
        <p:blipFill>
          <a:blip r:embed="rId4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4" name="Picture 11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74"/>
            <a:ext cx="2157413" cy="352426"/>
          </a:xfrm>
          <a:prstGeom prst="rect">
            <a:avLst/>
          </a:prstGeom>
          <a:noFill/>
        </p:spPr>
      </p:pic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218" tIns="36109" rIns="72218" bIns="36109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329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50034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88671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29252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91801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ndo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"/>
            <a:ext cx="10287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Logo_Peq01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31"/>
            <a:ext cx="8743950" cy="1470025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29381" y="4591050"/>
            <a:ext cx="3086100" cy="548640"/>
          </a:xfrm>
        </p:spPr>
        <p:txBody>
          <a:bodyPr anchor="ctr"/>
          <a:lstStyle>
            <a:lvl1pPr marL="0" indent="0" algn="r">
              <a:buNone/>
              <a:defRPr b="0" i="0">
                <a:solidFill>
                  <a:schemeClr val="bg1"/>
                </a:solidFill>
              </a:defRPr>
            </a:lvl1pPr>
            <a:lvl2pPr marL="4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29381" y="5143500"/>
            <a:ext cx="3086100" cy="548640"/>
          </a:xfrm>
        </p:spPr>
        <p:txBody>
          <a:bodyPr anchor="ctr"/>
          <a:lstStyle>
            <a:lvl1pPr algn="r"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79915122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60941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12408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57301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13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endParaRPr lang="en-US" sz="1000" b="1" dirty="0">
              <a:solidFill>
                <a:srgbClr val="FFFFFF"/>
              </a:solidFill>
            </a:endParaRPr>
          </a:p>
        </p:txBody>
      </p:sp>
      <p:pic>
        <p:nvPicPr>
          <p:cNvPr id="11" name="Picture 10" descr="fondo02"/>
          <p:cNvPicPr>
            <a:picLocks noChangeAspect="1" noChangeArrowheads="1"/>
          </p:cNvPicPr>
          <p:nvPr userDrawn="1"/>
        </p:nvPicPr>
        <p:blipFill>
          <a:blip r:embed="rId3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2" name="Picture 11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77126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76201"/>
            <a:ext cx="9429750" cy="533400"/>
          </a:xfrm>
          <a:ln>
            <a:noFill/>
          </a:ln>
        </p:spPr>
        <p:txBody>
          <a:bodyPr wrap="square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685800"/>
            <a:ext cx="942975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759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endParaRPr lang="de-DE" sz="700" dirty="0">
              <a:solidFill>
                <a:srgbClr val="FFFFFF"/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 bwMode="auto">
          <a:xfrm>
            <a:off x="428625" y="609600"/>
            <a:ext cx="942975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557894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01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726538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jpeg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vmlDrawing" Target="../drawings/vmlDrawing8.vml"/><Relationship Id="rId18" Type="http://schemas.openxmlformats.org/officeDocument/2006/relationships/image" Target="../media/image5.wmf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theme" Target="../theme/theme10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98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5" Type="http://schemas.openxmlformats.org/officeDocument/2006/relationships/oleObject" Target="../embeddings/oleObject8.bin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tags" Target="../tags/tag33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09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2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24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tags" Target="../tags/tag334.xml"/><Relationship Id="rId5" Type="http://schemas.openxmlformats.org/officeDocument/2006/relationships/vmlDrawing" Target="../drawings/vmlDrawing9.vml"/><Relationship Id="rId10" Type="http://schemas.openxmlformats.org/officeDocument/2006/relationships/image" Target="../media/image3.jpeg"/><Relationship Id="rId4" Type="http://schemas.openxmlformats.org/officeDocument/2006/relationships/theme" Target="../theme/theme12.xml"/><Relationship Id="rId9" Type="http://schemas.openxmlformats.org/officeDocument/2006/relationships/image" Target="../media/image2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slideLayout" Target="../slideLayouts/slideLayout136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26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slideLayout" Target="../slideLayouts/slideLayout138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13" Type="http://schemas.openxmlformats.org/officeDocument/2006/relationships/tags" Target="../tags/tag339.xml"/><Relationship Id="rId18" Type="http://schemas.openxmlformats.org/officeDocument/2006/relationships/tags" Target="../tags/tag344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41.xml"/><Relationship Id="rId21" Type="http://schemas.openxmlformats.org/officeDocument/2006/relationships/tags" Target="../tags/tag347.xml"/><Relationship Id="rId7" Type="http://schemas.openxmlformats.org/officeDocument/2006/relationships/theme" Target="../theme/theme14.xml"/><Relationship Id="rId12" Type="http://schemas.openxmlformats.org/officeDocument/2006/relationships/tags" Target="../tags/tag338.xml"/><Relationship Id="rId17" Type="http://schemas.openxmlformats.org/officeDocument/2006/relationships/tags" Target="../tags/tag343.xml"/><Relationship Id="rId25" Type="http://schemas.openxmlformats.org/officeDocument/2006/relationships/oleObject" Target="../embeddings/oleObject10.bin"/><Relationship Id="rId2" Type="http://schemas.openxmlformats.org/officeDocument/2006/relationships/slideLayout" Target="../slideLayouts/slideLayout140.xml"/><Relationship Id="rId16" Type="http://schemas.openxmlformats.org/officeDocument/2006/relationships/tags" Target="../tags/tag342.xml"/><Relationship Id="rId20" Type="http://schemas.openxmlformats.org/officeDocument/2006/relationships/tags" Target="../tags/tag346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tags" Target="../tags/tag337.xml"/><Relationship Id="rId24" Type="http://schemas.openxmlformats.org/officeDocument/2006/relationships/tags" Target="../tags/tag350.xml"/><Relationship Id="rId5" Type="http://schemas.openxmlformats.org/officeDocument/2006/relationships/slideLayout" Target="../slideLayouts/slideLayout143.xml"/><Relationship Id="rId15" Type="http://schemas.openxmlformats.org/officeDocument/2006/relationships/tags" Target="../tags/tag341.xml"/><Relationship Id="rId23" Type="http://schemas.openxmlformats.org/officeDocument/2006/relationships/tags" Target="../tags/tag349.xml"/><Relationship Id="rId28" Type="http://schemas.openxmlformats.org/officeDocument/2006/relationships/image" Target="../media/image5.wmf"/><Relationship Id="rId10" Type="http://schemas.openxmlformats.org/officeDocument/2006/relationships/tags" Target="../tags/tag336.xml"/><Relationship Id="rId19" Type="http://schemas.openxmlformats.org/officeDocument/2006/relationships/tags" Target="../tags/tag345.xml"/><Relationship Id="rId4" Type="http://schemas.openxmlformats.org/officeDocument/2006/relationships/slideLayout" Target="../slideLayouts/slideLayout142.xml"/><Relationship Id="rId9" Type="http://schemas.openxmlformats.org/officeDocument/2006/relationships/tags" Target="../tags/tag335.xml"/><Relationship Id="rId14" Type="http://schemas.openxmlformats.org/officeDocument/2006/relationships/tags" Target="../tags/tag340.xml"/><Relationship Id="rId22" Type="http://schemas.openxmlformats.org/officeDocument/2006/relationships/tags" Target="../tags/tag348.xml"/><Relationship Id="rId27" Type="http://schemas.openxmlformats.org/officeDocument/2006/relationships/image" Target="../media/image4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.vml"/><Relationship Id="rId13" Type="http://schemas.openxmlformats.org/officeDocument/2006/relationships/tags" Target="../tags/tag356.xml"/><Relationship Id="rId18" Type="http://schemas.openxmlformats.org/officeDocument/2006/relationships/tags" Target="../tags/tag361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47.xml"/><Relationship Id="rId21" Type="http://schemas.openxmlformats.org/officeDocument/2006/relationships/tags" Target="../tags/tag364.xml"/><Relationship Id="rId7" Type="http://schemas.openxmlformats.org/officeDocument/2006/relationships/theme" Target="../theme/theme15.xml"/><Relationship Id="rId12" Type="http://schemas.openxmlformats.org/officeDocument/2006/relationships/tags" Target="../tags/tag355.xml"/><Relationship Id="rId17" Type="http://schemas.openxmlformats.org/officeDocument/2006/relationships/tags" Target="../tags/tag360.xml"/><Relationship Id="rId25" Type="http://schemas.openxmlformats.org/officeDocument/2006/relationships/oleObject" Target="../embeddings/oleObject12.bin"/><Relationship Id="rId2" Type="http://schemas.openxmlformats.org/officeDocument/2006/relationships/slideLayout" Target="../slideLayouts/slideLayout146.xml"/><Relationship Id="rId16" Type="http://schemas.openxmlformats.org/officeDocument/2006/relationships/tags" Target="../tags/tag359.xml"/><Relationship Id="rId20" Type="http://schemas.openxmlformats.org/officeDocument/2006/relationships/tags" Target="../tags/tag363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tags" Target="../tags/tag354.xml"/><Relationship Id="rId24" Type="http://schemas.openxmlformats.org/officeDocument/2006/relationships/tags" Target="../tags/tag367.xml"/><Relationship Id="rId5" Type="http://schemas.openxmlformats.org/officeDocument/2006/relationships/slideLayout" Target="../slideLayouts/slideLayout149.xml"/><Relationship Id="rId15" Type="http://schemas.openxmlformats.org/officeDocument/2006/relationships/tags" Target="../tags/tag358.xml"/><Relationship Id="rId23" Type="http://schemas.openxmlformats.org/officeDocument/2006/relationships/tags" Target="../tags/tag366.xml"/><Relationship Id="rId28" Type="http://schemas.openxmlformats.org/officeDocument/2006/relationships/image" Target="../media/image5.wmf"/><Relationship Id="rId10" Type="http://schemas.openxmlformats.org/officeDocument/2006/relationships/tags" Target="../tags/tag353.xml"/><Relationship Id="rId19" Type="http://schemas.openxmlformats.org/officeDocument/2006/relationships/tags" Target="../tags/tag362.xml"/><Relationship Id="rId4" Type="http://schemas.openxmlformats.org/officeDocument/2006/relationships/slideLayout" Target="../slideLayouts/slideLayout148.xml"/><Relationship Id="rId9" Type="http://schemas.openxmlformats.org/officeDocument/2006/relationships/tags" Target="../tags/tag352.xml"/><Relationship Id="rId14" Type="http://schemas.openxmlformats.org/officeDocument/2006/relationships/tags" Target="../tags/tag357.xml"/><Relationship Id="rId22" Type="http://schemas.openxmlformats.org/officeDocument/2006/relationships/tags" Target="../tags/tag365.xml"/><Relationship Id="rId27" Type="http://schemas.openxmlformats.org/officeDocument/2006/relationships/image" Target="../media/image4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13" Type="http://schemas.openxmlformats.org/officeDocument/2006/relationships/tags" Target="../tags/tag373.xml"/><Relationship Id="rId18" Type="http://schemas.openxmlformats.org/officeDocument/2006/relationships/tags" Target="../tags/tag378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53.xml"/><Relationship Id="rId21" Type="http://schemas.openxmlformats.org/officeDocument/2006/relationships/tags" Target="../tags/tag381.xml"/><Relationship Id="rId7" Type="http://schemas.openxmlformats.org/officeDocument/2006/relationships/theme" Target="../theme/theme16.xml"/><Relationship Id="rId12" Type="http://schemas.openxmlformats.org/officeDocument/2006/relationships/tags" Target="../tags/tag372.xml"/><Relationship Id="rId17" Type="http://schemas.openxmlformats.org/officeDocument/2006/relationships/tags" Target="../tags/tag377.xml"/><Relationship Id="rId25" Type="http://schemas.openxmlformats.org/officeDocument/2006/relationships/oleObject" Target="../embeddings/oleObject14.bin"/><Relationship Id="rId2" Type="http://schemas.openxmlformats.org/officeDocument/2006/relationships/slideLayout" Target="../slideLayouts/slideLayout152.xml"/><Relationship Id="rId16" Type="http://schemas.openxmlformats.org/officeDocument/2006/relationships/tags" Target="../tags/tag376.xml"/><Relationship Id="rId20" Type="http://schemas.openxmlformats.org/officeDocument/2006/relationships/tags" Target="../tags/tag380.xml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1" Type="http://schemas.openxmlformats.org/officeDocument/2006/relationships/tags" Target="../tags/tag371.xml"/><Relationship Id="rId24" Type="http://schemas.openxmlformats.org/officeDocument/2006/relationships/tags" Target="../tags/tag384.xml"/><Relationship Id="rId5" Type="http://schemas.openxmlformats.org/officeDocument/2006/relationships/slideLayout" Target="../slideLayouts/slideLayout155.xml"/><Relationship Id="rId15" Type="http://schemas.openxmlformats.org/officeDocument/2006/relationships/tags" Target="../tags/tag375.xml"/><Relationship Id="rId23" Type="http://schemas.openxmlformats.org/officeDocument/2006/relationships/tags" Target="../tags/tag383.xml"/><Relationship Id="rId28" Type="http://schemas.openxmlformats.org/officeDocument/2006/relationships/image" Target="../media/image5.wmf"/><Relationship Id="rId10" Type="http://schemas.openxmlformats.org/officeDocument/2006/relationships/tags" Target="../tags/tag370.xml"/><Relationship Id="rId19" Type="http://schemas.openxmlformats.org/officeDocument/2006/relationships/tags" Target="../tags/tag379.xml"/><Relationship Id="rId4" Type="http://schemas.openxmlformats.org/officeDocument/2006/relationships/slideLayout" Target="../slideLayouts/slideLayout154.xml"/><Relationship Id="rId9" Type="http://schemas.openxmlformats.org/officeDocument/2006/relationships/tags" Target="../tags/tag369.xml"/><Relationship Id="rId14" Type="http://schemas.openxmlformats.org/officeDocument/2006/relationships/tags" Target="../tags/tag374.xml"/><Relationship Id="rId22" Type="http://schemas.openxmlformats.org/officeDocument/2006/relationships/tags" Target="../tags/tag382.xml"/><Relationship Id="rId27" Type="http://schemas.openxmlformats.org/officeDocument/2006/relationships/image" Target="../media/image4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13" Type="http://schemas.openxmlformats.org/officeDocument/2006/relationships/tags" Target="../tags/tag390.xml"/><Relationship Id="rId18" Type="http://schemas.openxmlformats.org/officeDocument/2006/relationships/tags" Target="../tags/tag395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59.xml"/><Relationship Id="rId21" Type="http://schemas.openxmlformats.org/officeDocument/2006/relationships/tags" Target="../tags/tag398.xml"/><Relationship Id="rId7" Type="http://schemas.openxmlformats.org/officeDocument/2006/relationships/theme" Target="../theme/theme17.xml"/><Relationship Id="rId12" Type="http://schemas.openxmlformats.org/officeDocument/2006/relationships/tags" Target="../tags/tag389.xml"/><Relationship Id="rId17" Type="http://schemas.openxmlformats.org/officeDocument/2006/relationships/tags" Target="../tags/tag394.xml"/><Relationship Id="rId25" Type="http://schemas.openxmlformats.org/officeDocument/2006/relationships/oleObject" Target="../embeddings/oleObject16.bin"/><Relationship Id="rId2" Type="http://schemas.openxmlformats.org/officeDocument/2006/relationships/slideLayout" Target="../slideLayouts/slideLayout158.xml"/><Relationship Id="rId16" Type="http://schemas.openxmlformats.org/officeDocument/2006/relationships/tags" Target="../tags/tag393.xml"/><Relationship Id="rId20" Type="http://schemas.openxmlformats.org/officeDocument/2006/relationships/tags" Target="../tags/tag397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tags" Target="../tags/tag388.xml"/><Relationship Id="rId24" Type="http://schemas.openxmlformats.org/officeDocument/2006/relationships/tags" Target="../tags/tag401.xml"/><Relationship Id="rId5" Type="http://schemas.openxmlformats.org/officeDocument/2006/relationships/slideLayout" Target="../slideLayouts/slideLayout161.xml"/><Relationship Id="rId15" Type="http://schemas.openxmlformats.org/officeDocument/2006/relationships/tags" Target="../tags/tag392.xml"/><Relationship Id="rId23" Type="http://schemas.openxmlformats.org/officeDocument/2006/relationships/tags" Target="../tags/tag400.xml"/><Relationship Id="rId28" Type="http://schemas.openxmlformats.org/officeDocument/2006/relationships/image" Target="../media/image5.wmf"/><Relationship Id="rId10" Type="http://schemas.openxmlformats.org/officeDocument/2006/relationships/tags" Target="../tags/tag387.xml"/><Relationship Id="rId19" Type="http://schemas.openxmlformats.org/officeDocument/2006/relationships/tags" Target="../tags/tag396.xml"/><Relationship Id="rId4" Type="http://schemas.openxmlformats.org/officeDocument/2006/relationships/slideLayout" Target="../slideLayouts/slideLayout160.xml"/><Relationship Id="rId9" Type="http://schemas.openxmlformats.org/officeDocument/2006/relationships/tags" Target="../tags/tag386.xml"/><Relationship Id="rId14" Type="http://schemas.openxmlformats.org/officeDocument/2006/relationships/tags" Target="../tags/tag391.xml"/><Relationship Id="rId22" Type="http://schemas.openxmlformats.org/officeDocument/2006/relationships/tags" Target="../tags/tag399.xml"/><Relationship Id="rId27" Type="http://schemas.openxmlformats.org/officeDocument/2006/relationships/image" Target="../media/image4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69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67.xml"/><Relationship Id="rId10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Relationship Id="rId14" Type="http://schemas.openxmlformats.org/officeDocument/2006/relationships/image" Target="../media/image5.wmf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image" Target="../media/image5.wmf"/><Relationship Id="rId5" Type="http://schemas.openxmlformats.org/officeDocument/2006/relationships/slideLayout" Target="../slideLayouts/slideLayout178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177.xml"/><Relationship Id="rId9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vmlDrawing" Target="../drawings/vmlDrawing2.vml"/><Relationship Id="rId11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.emf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slideLayout" Target="../slideLayouts/slideLayout184.xml"/><Relationship Id="rId7" Type="http://schemas.openxmlformats.org/officeDocument/2006/relationships/tags" Target="../tags/tag403.xml"/><Relationship Id="rId2" Type="http://schemas.openxmlformats.org/officeDocument/2006/relationships/slideLayout" Target="../slideLayouts/slideLayout183.xml"/><Relationship Id="rId1" Type="http://schemas.openxmlformats.org/officeDocument/2006/relationships/slideLayout" Target="../slideLayouts/slideLayout182.xml"/><Relationship Id="rId6" Type="http://schemas.openxmlformats.org/officeDocument/2006/relationships/vmlDrawing" Target="../drawings/vmlDrawing18.vml"/><Relationship Id="rId11" Type="http://schemas.openxmlformats.org/officeDocument/2006/relationships/image" Target="../media/image3.jpeg"/><Relationship Id="rId5" Type="http://schemas.openxmlformats.org/officeDocument/2006/relationships/theme" Target="../theme/theme20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85.xml"/><Relationship Id="rId9" Type="http://schemas.openxmlformats.org/officeDocument/2006/relationships/image" Target="../media/image1.emf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tags" Target="../tags/tag407.xml"/><Relationship Id="rId13" Type="http://schemas.openxmlformats.org/officeDocument/2006/relationships/tags" Target="../tags/tag412.xml"/><Relationship Id="rId18" Type="http://schemas.openxmlformats.org/officeDocument/2006/relationships/tags" Target="../tags/tag417.xml"/><Relationship Id="rId26" Type="http://schemas.openxmlformats.org/officeDocument/2006/relationships/image" Target="../media/image2.jpeg"/><Relationship Id="rId3" Type="http://schemas.openxmlformats.org/officeDocument/2006/relationships/theme" Target="../theme/theme21.xml"/><Relationship Id="rId21" Type="http://schemas.openxmlformats.org/officeDocument/2006/relationships/tags" Target="../tags/tag420.xml"/><Relationship Id="rId7" Type="http://schemas.openxmlformats.org/officeDocument/2006/relationships/tags" Target="../tags/tag406.xml"/><Relationship Id="rId12" Type="http://schemas.openxmlformats.org/officeDocument/2006/relationships/tags" Target="../tags/tag411.xml"/><Relationship Id="rId17" Type="http://schemas.openxmlformats.org/officeDocument/2006/relationships/tags" Target="../tags/tag416.xml"/><Relationship Id="rId25" Type="http://schemas.openxmlformats.org/officeDocument/2006/relationships/image" Target="../media/image13.emf"/><Relationship Id="rId2" Type="http://schemas.openxmlformats.org/officeDocument/2006/relationships/slideLayout" Target="../slideLayouts/slideLayout187.xml"/><Relationship Id="rId16" Type="http://schemas.openxmlformats.org/officeDocument/2006/relationships/tags" Target="../tags/tag415.xml"/><Relationship Id="rId20" Type="http://schemas.openxmlformats.org/officeDocument/2006/relationships/tags" Target="../tags/tag419.xml"/><Relationship Id="rId1" Type="http://schemas.openxmlformats.org/officeDocument/2006/relationships/slideLayout" Target="../slideLayouts/slideLayout186.xml"/><Relationship Id="rId6" Type="http://schemas.openxmlformats.org/officeDocument/2006/relationships/tags" Target="../tags/tag405.xml"/><Relationship Id="rId11" Type="http://schemas.openxmlformats.org/officeDocument/2006/relationships/tags" Target="../tags/tag410.xml"/><Relationship Id="rId24" Type="http://schemas.openxmlformats.org/officeDocument/2006/relationships/oleObject" Target="../embeddings/oleObject19.bin"/><Relationship Id="rId5" Type="http://schemas.openxmlformats.org/officeDocument/2006/relationships/tags" Target="../tags/tag404.xml"/><Relationship Id="rId15" Type="http://schemas.openxmlformats.org/officeDocument/2006/relationships/tags" Target="../tags/tag414.xml"/><Relationship Id="rId23" Type="http://schemas.openxmlformats.org/officeDocument/2006/relationships/tags" Target="../tags/tag422.xml"/><Relationship Id="rId10" Type="http://schemas.openxmlformats.org/officeDocument/2006/relationships/tags" Target="../tags/tag409.xml"/><Relationship Id="rId19" Type="http://schemas.openxmlformats.org/officeDocument/2006/relationships/tags" Target="../tags/tag418.xml"/><Relationship Id="rId4" Type="http://schemas.openxmlformats.org/officeDocument/2006/relationships/vmlDrawing" Target="../drawings/vmlDrawing19.vml"/><Relationship Id="rId9" Type="http://schemas.openxmlformats.org/officeDocument/2006/relationships/tags" Target="../tags/tag408.xml"/><Relationship Id="rId14" Type="http://schemas.openxmlformats.org/officeDocument/2006/relationships/tags" Target="../tags/tag413.xml"/><Relationship Id="rId22" Type="http://schemas.openxmlformats.org/officeDocument/2006/relationships/tags" Target="../tags/tag421.xml"/><Relationship Id="rId27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tags" Target="../tags/tag113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tags" Target="../tags/tag112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vmlDrawing" Target="../drawings/vmlDrawing3.v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heme" Target="../theme/theme4.xml"/><Relationship Id="rId27" Type="http://schemas.openxmlformats.org/officeDocument/2006/relationships/image" Target="../media/image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oleObject" Target="../embeddings/oleObject4.bin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tags" Target="../tags/tag222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22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vmlDrawing" Target="../drawings/vmlDrawing4.v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5.xml"/><Relationship Id="rId27" Type="http://schemas.openxmlformats.org/officeDocument/2006/relationships/image" Target="../media/image8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330.xml"/><Relationship Id="rId5" Type="http://schemas.openxmlformats.org/officeDocument/2006/relationships/vmlDrawing" Target="../drawings/vmlDrawing5.vml"/><Relationship Id="rId10" Type="http://schemas.openxmlformats.org/officeDocument/2006/relationships/image" Target="../media/image3.jpeg"/><Relationship Id="rId4" Type="http://schemas.openxmlformats.org/officeDocument/2006/relationships/theme" Target="../theme/theme6.xml"/><Relationship Id="rId9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vmlDrawing" Target="../drawings/vmlDrawing6.vml"/><Relationship Id="rId18" Type="http://schemas.openxmlformats.org/officeDocument/2006/relationships/image" Target="../media/image5.wmf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theme" Target="../theme/theme7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76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ags" Target="../tags/tag33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88.xml"/><Relationship Id="rId7" Type="http://schemas.openxmlformats.org/officeDocument/2006/relationships/tags" Target="../tags/tag332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vmlDrawing" Target="../drawings/vmlDrawing7.vml"/><Relationship Id="rId11" Type="http://schemas.openxmlformats.org/officeDocument/2006/relationships/image" Target="../media/image3.jpeg"/><Relationship Id="rId5" Type="http://schemas.openxmlformats.org/officeDocument/2006/relationships/theme" Target="../theme/theme8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89.xml"/><Relationship Id="rId9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5" Type="http://schemas.openxmlformats.org/officeDocument/2006/relationships/slideLayout" Target="../slideLayouts/slideLayout94.xml"/><Relationship Id="rId10" Type="http://schemas.openxmlformats.org/officeDocument/2006/relationships/image" Target="../media/image5.wmf"/><Relationship Id="rId4" Type="http://schemas.openxmlformats.org/officeDocument/2006/relationships/slideLayout" Target="../slideLayouts/slideLayout93.xml"/><Relationship Id="rId9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9605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15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24696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6" r:id="rId2"/>
    <p:sldLayoutId id="2147483667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6424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972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9750" cy="850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858125" y="6345337"/>
            <a:ext cx="2157413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00607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707231" y="1825625"/>
            <a:ext cx="8872538" cy="228370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187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  <p:sldLayoutId id="2147483864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97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4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6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334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334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8" y="6226218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5"/>
            <a:ext cx="949166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822861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5pPr>
      <a:lvl6pPr marL="40635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6pPr>
      <a:lvl7pPr marL="81270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7pPr>
      <a:lvl8pPr marL="121905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8pPr>
      <a:lvl9pPr marL="16254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16051" indent="-316051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334">
          <a:solidFill>
            <a:srgbClr val="000000"/>
          </a:solidFill>
          <a:latin typeface="+mn-lt"/>
          <a:ea typeface="+mn-ea"/>
          <a:cs typeface="+mn-cs"/>
        </a:defRPr>
      </a:lvl1pPr>
      <a:lvl2pPr marL="654678" indent="-179190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066">
          <a:solidFill>
            <a:srgbClr val="000000"/>
          </a:solidFill>
          <a:latin typeface="+mn-lt"/>
          <a:cs typeface="+mn-cs"/>
        </a:defRPr>
      </a:lvl2pPr>
      <a:lvl3pPr marL="1055386" indent="-174957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066">
          <a:solidFill>
            <a:srgbClr val="000000"/>
          </a:solidFill>
          <a:latin typeface="+mn-lt"/>
          <a:cs typeface="+mn-cs"/>
        </a:defRPr>
      </a:lvl3pPr>
      <a:lvl4pPr marL="1354505" indent="-129807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066">
          <a:solidFill>
            <a:schemeClr val="tx1"/>
          </a:solidFill>
          <a:latin typeface="+mn-lt"/>
          <a:cs typeface="+mn-cs"/>
        </a:defRPr>
      </a:lvl4pPr>
      <a:lvl5pPr marL="1749570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5pPr>
      <a:lvl6pPr marL="2155921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6pPr>
      <a:lvl7pPr marL="2562273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7pPr>
      <a:lvl8pPr marL="2968625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8pPr>
      <a:lvl9pPr marL="3374977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6352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2704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9055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5407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31759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8111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44462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50814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88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  <p:sldLayoutId id="2147483883" r:id="rId13"/>
    <p:sldLayoutId id="2147483884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621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32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669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259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677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603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725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807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3019" cy="733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3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858125" y="6345432"/>
            <a:ext cx="2157412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u="sng" dirty="0" smtClean="0">
                <a:solidFill>
                  <a:srgbClr val="FFFFFF"/>
                </a:solidFill>
              </a:rPr>
              <a:t>Source: xxx</a:t>
            </a:r>
            <a:endParaRPr lang="en-US" u="sng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u="sng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u="sng" dirty="0"/>
          </a:p>
        </p:txBody>
      </p:sp>
      <p:sp>
        <p:nvSpPr>
          <p:cNvPr id="2" name="OWLabel"/>
          <p:cNvSpPr/>
          <p:nvPr/>
        </p:nvSpPr>
        <p:spPr bwMode="auto">
          <a:xfrm>
            <a:off x="9306161" y="64770"/>
            <a:ext cx="481607" cy="248530"/>
          </a:xfrm>
          <a:prstGeom prst="rect">
            <a:avLst/>
          </a:prstGeom>
          <a:solidFill>
            <a:schemeClr val="lt1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43" tIns="46863" rIns="90043" bIns="46863" numCol="1" rtlCol="0" anchor="b" anchorCtr="0" compatLnSpc="1">
            <a:prstTxWarp prst="textNoShape">
              <a:avLst/>
            </a:prstTxWarp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0000"/>
                </a:solidFill>
              </a:rPr>
              <a:t>Draft</a:t>
            </a:r>
            <a:endParaRPr lang="en-US" sz="1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59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7" descr="fondo02"/>
          <p:cNvPicPr>
            <a:picLocks noChangeAspect="1" noChangeArrowheads="1"/>
          </p:cNvPicPr>
          <p:nvPr/>
        </p:nvPicPr>
        <p:blipFill rotWithShape="1">
          <a:blip r:embed="rId10"/>
          <a:srcRect l="188" r="188"/>
          <a:stretch/>
        </p:blipFill>
        <p:spPr bwMode="auto">
          <a:xfrm>
            <a:off x="-14909" y="-13252"/>
            <a:ext cx="10328148" cy="6885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7" name="Picture 8" descr="Logo_Peq01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FFFFFF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0094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</p:sldLayoutIdLst>
  <p:transition spd="slow">
    <p:wip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rgbClr val="FF0000"/>
          </a:solidFill>
          <a:latin typeface="+mn-lt"/>
          <a:ea typeface="+mn-ea"/>
          <a:cs typeface="+mn-cs"/>
        </a:defRPr>
      </a:lvl1pPr>
      <a:lvl2pPr marL="512763" indent="-1682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rgbClr val="999999"/>
          </a:solidFill>
          <a:latin typeface="Arial" pitchFamily="34" charset="0"/>
          <a:ea typeface="+mn-ea"/>
          <a:cs typeface="+mn-cs"/>
        </a:defRPr>
      </a:lvl2pPr>
      <a:lvl3pPr marL="931863" indent="-228600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rgbClr val="999999"/>
          </a:solidFill>
          <a:latin typeface="Arial" pitchFamily="34" charset="0"/>
          <a:ea typeface="+mn-ea"/>
          <a:cs typeface="+mn-cs"/>
        </a:defRPr>
      </a:lvl3pPr>
      <a:lvl4pPr marL="13509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rgbClr val="999999"/>
          </a:solidFill>
          <a:latin typeface="Arial" pitchFamily="34" charset="0"/>
          <a:ea typeface="+mn-ea"/>
          <a:cs typeface="+mn-cs"/>
        </a:defRPr>
      </a:lvl4pPr>
      <a:lvl5pPr marL="17700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»"/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42575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75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816834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991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40285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95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8" name="Picture 2" descr="san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ltGray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" name="Picture 7" descr="A-Santander-negativo_RGB [Convertido]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ltGray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73053" y="306074"/>
            <a:ext cx="939207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73053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73053" y="619608"/>
            <a:ext cx="93920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3" y="2022053"/>
            <a:ext cx="4894753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4" name="McK Slide Elements" hidden="1"/>
          <p:cNvGrpSpPr/>
          <p:nvPr/>
        </p:nvGrpSpPr>
        <p:grpSpPr bwMode="auto">
          <a:xfrm>
            <a:off x="373053" y="5971743"/>
            <a:ext cx="9702557" cy="714433"/>
            <a:chOff x="182232" y="5971743"/>
            <a:chExt cx="9702557" cy="714433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182232" y="5971743"/>
              <a:ext cx="9702557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182232" y="6532288"/>
              <a:ext cx="729724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66725" indent="-466725" defTabSz="97858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839968" y="225413"/>
            <a:ext cx="235642" cy="2308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500" b="1" smtClean="0">
                <a:solidFill>
                  <a:srgbClr val="FF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grpSp>
        <p:nvGrpSpPr>
          <p:cNvPr id="72" name="LegendBoxes" hidden="1"/>
          <p:cNvGrpSpPr>
            <a:grpSpLocks/>
          </p:cNvGrpSpPr>
          <p:nvPr/>
        </p:nvGrpSpPr>
        <p:grpSpPr bwMode="auto">
          <a:xfrm>
            <a:off x="9001539" y="368570"/>
            <a:ext cx="763588" cy="996951"/>
            <a:chOff x="4936" y="176"/>
            <a:chExt cx="481" cy="628"/>
          </a:xfrm>
        </p:grpSpPr>
        <p:sp>
          <p:nvSpPr>
            <p:cNvPr id="7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1" name="LegendLines" hidden="1"/>
          <p:cNvGrpSpPr>
            <a:grpSpLocks/>
          </p:cNvGrpSpPr>
          <p:nvPr/>
        </p:nvGrpSpPr>
        <p:grpSpPr bwMode="auto">
          <a:xfrm>
            <a:off x="8693564" y="368570"/>
            <a:ext cx="1071563" cy="730251"/>
            <a:chOff x="4750" y="176"/>
            <a:chExt cx="675" cy="460"/>
          </a:xfrm>
        </p:grpSpPr>
        <p:sp>
          <p:nvSpPr>
            <p:cNvPr id="8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88" name="McKSticker" hidden="1"/>
          <p:cNvGrpSpPr/>
          <p:nvPr/>
        </p:nvGrpSpPr>
        <p:grpSpPr bwMode="auto">
          <a:xfrm>
            <a:off x="8698232" y="368570"/>
            <a:ext cx="1066895" cy="212366"/>
            <a:chOff x="7673880" y="285750"/>
            <a:chExt cx="1066895" cy="212366"/>
          </a:xfrm>
        </p:grpSpPr>
        <p:sp>
          <p:nvSpPr>
            <p:cNvPr id="89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90" name="AutoShape 31"/>
            <p:cNvCxnSpPr>
              <a:cxnSpLocks noChangeShapeType="1"/>
              <a:stCxn id="89" idx="2"/>
              <a:endCxn id="89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1" name="AutoShape 32"/>
            <p:cNvCxnSpPr>
              <a:cxnSpLocks noChangeShapeType="1"/>
              <a:stCxn id="89" idx="4"/>
              <a:endCxn id="89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" name="LegendMoons" hidden="1"/>
          <p:cNvGrpSpPr/>
          <p:nvPr/>
        </p:nvGrpSpPr>
        <p:grpSpPr bwMode="auto">
          <a:xfrm>
            <a:off x="8934697" y="368570"/>
            <a:ext cx="830430" cy="1306516"/>
            <a:chOff x="6655594" y="273840"/>
            <a:chExt cx="830430" cy="1306516"/>
          </a:xfrm>
        </p:grpSpPr>
        <p:grpSp>
          <p:nvGrpSpPr>
            <p:cNvPr id="9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1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7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8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9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0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1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02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0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57" name="McK 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8243595" y="2029270"/>
            <a:ext cx="254000" cy="254000"/>
            <a:chOff x="1600" y="1600"/>
            <a:chExt cx="160" cy="160"/>
          </a:xfrm>
        </p:grpSpPr>
        <p:sp>
          <p:nvSpPr>
            <p:cNvPr id="58" name="Oval 90"/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700" dirty="0">
                <a:solidFill>
                  <a:srgbClr val="000000"/>
                </a:solidFill>
              </a:endParaRPr>
            </a:p>
          </p:txBody>
        </p:sp>
        <p:sp>
          <p:nvSpPr>
            <p:cNvPr id="59" name="Arc 9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7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4034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78693" rtl="0" eaLnBrk="1" fontAlgn="base" hangingPunct="1">
        <a:spcBef>
          <a:spcPct val="0"/>
        </a:spcBef>
        <a:spcAft>
          <a:spcPct val="0"/>
        </a:spcAft>
        <a:tabLst>
          <a:tab pos="294996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2pPr>
      <a:lvl3pPr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3pPr>
      <a:lvl4pPr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4pPr>
      <a:lvl5pPr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5pPr>
      <a:lvl6pPr marL="499757"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6pPr>
      <a:lvl7pPr marL="999516"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7pPr>
      <a:lvl8pPr marL="1499274"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8pPr>
      <a:lvl9pPr marL="1999033"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211704" indent="-209968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99757" indent="-286320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71551" indent="-170056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6pPr>
      <a:lvl7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7pPr>
      <a:lvl8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8pPr>
      <a:lvl9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9757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9516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9274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9033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98791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98548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8307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98064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id" hidden="1"/>
          <p:cNvGrpSpPr/>
          <p:nvPr>
            <p:custDataLst>
              <p:tags r:id="rId24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8/26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929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9" r:id="rId21"/>
    <p:sldLayoutId id="2147483700" r:id="rId22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755719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926" name="think-cell Slide" r:id="rId26" imgW="524" imgH="526" progId="TCLayout.ActiveDocument.1">
                  <p:embed/>
                </p:oleObj>
              </mc:Choice>
              <mc:Fallback>
                <p:oleObj name="think-cell Slide" r:id="rId2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id" hidden="1"/>
          <p:cNvGrpSpPr/>
          <p:nvPr>
            <p:custDataLst>
              <p:tags r:id="rId25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8/26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381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4" r:id="rId21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564513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8044" name="think-cell Slide" r:id="rId26" imgW="524" imgH="526" progId="TCLayout.ActiveDocument.1">
                  <p:embed/>
                </p:oleObj>
              </mc:Choice>
              <mc:Fallback>
                <p:oleObj name="think-cell Slide" r:id="rId2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id" hidden="1"/>
          <p:cNvGrpSpPr/>
          <p:nvPr>
            <p:custDataLst>
              <p:tags r:id="rId25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8/26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201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61" r:id="rId21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47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600798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760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3019" cy="733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858125" y="6345432"/>
            <a:ext cx="2157412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u="sng" dirty="0" smtClean="0">
                <a:solidFill>
                  <a:srgbClr val="FFFFFF"/>
                </a:solidFill>
              </a:rPr>
              <a:t>Source: xxx</a:t>
            </a:r>
            <a:endParaRPr lang="en-US" u="sng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u="sng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u="sng" dirty="0"/>
          </a:p>
        </p:txBody>
      </p:sp>
    </p:spTree>
    <p:extLst>
      <p:ext uri="{BB962C8B-B14F-4D97-AF65-F5344CB8AC3E}">
        <p14:creationId xmlns:p14="http://schemas.microsoft.com/office/powerpoint/2010/main" val="463007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646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2910487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8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11481" y="274639"/>
            <a:ext cx="9464040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1481" y="838200"/>
            <a:ext cx="9464040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9" name="Rectangle 15"/>
          <p:cNvSpPr txBox="1">
            <a:spLocks noChangeArrowheads="1"/>
          </p:cNvSpPr>
          <p:nvPr/>
        </p:nvSpPr>
        <p:spPr>
          <a:xfrm>
            <a:off x="9113645" y="131763"/>
            <a:ext cx="978694" cy="457200"/>
          </a:xfrm>
          <a:prstGeom prst="rect">
            <a:avLst/>
          </a:prstGeom>
        </p:spPr>
        <p:txBody>
          <a:bodyPr lIns="91392" tIns="45696" rIns="91392" bIns="45696"/>
          <a:lstStyle>
            <a:lvl1pPr algn="r">
              <a:defRPr sz="1600">
                <a:solidFill>
                  <a:srgbClr val="FF0000"/>
                </a:solidFill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2C9E113-8C02-474D-854D-3C7A6F29C705}" type="slidenum">
              <a:rPr lang="es-ES_tradnl" sz="1600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s-ES_tradnl" sz="1600" dirty="0"/>
          </a:p>
        </p:txBody>
      </p:sp>
      <p:pic>
        <p:nvPicPr>
          <p:cNvPr id="1031" name="Picture 8" descr="Logo_Peq0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67769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5pPr>
      <a:lvl6pPr marL="45696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6pPr>
      <a:lvl7pPr marL="913915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7pPr>
      <a:lvl8pPr marL="1370875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8pPr>
      <a:lvl9pPr marL="1827832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9pPr>
    </p:titleStyle>
    <p:bodyStyle>
      <a:lvl1pPr marL="0" indent="4763" algn="l" rtl="0" eaLnBrk="0" fontAlgn="base" hangingPunct="0">
        <a:spcBef>
          <a:spcPct val="20000"/>
        </a:spcBef>
        <a:spcAft>
          <a:spcPct val="0"/>
        </a:spcAft>
        <a:buFont typeface="Arial" charset="0"/>
        <a:defRPr sz="1600" b="1" i="1" kern="1200">
          <a:solidFill>
            <a:srgbClr val="A6A6A6"/>
          </a:solidFill>
          <a:latin typeface="Arial" pitchFamily="34" charset="0"/>
          <a:ea typeface="+mn-ea"/>
          <a:cs typeface="Arial" pitchFamily="34" charset="0"/>
        </a:defRPr>
      </a:lvl1pPr>
      <a:lvl2pPr marL="742557" indent="-285599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394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99352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6310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3267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25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84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40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1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2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89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46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0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62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26.xml"/><Relationship Id="rId7" Type="http://schemas.openxmlformats.org/officeDocument/2006/relationships/image" Target="../media/image17.emf"/><Relationship Id="rId2" Type="http://schemas.openxmlformats.org/officeDocument/2006/relationships/tags" Target="../tags/tag425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28.xml"/><Relationship Id="rId7" Type="http://schemas.openxmlformats.org/officeDocument/2006/relationships/image" Target="../media/image17.emf"/><Relationship Id="rId2" Type="http://schemas.openxmlformats.org/officeDocument/2006/relationships/tags" Target="../tags/tag427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523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ectangle 72"/>
          <p:cNvSpPr>
            <a:spLocks/>
          </p:cNvSpPr>
          <p:nvPr/>
        </p:nvSpPr>
        <p:spPr>
          <a:xfrm>
            <a:off x="280988" y="763481"/>
            <a:ext cx="9718506" cy="531991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 smtClean="0"/>
              <a:t>Index of Change</a:t>
            </a:r>
            <a:endParaRPr lang="en-US" dirty="0"/>
          </a:p>
        </p:txBody>
      </p:sp>
      <p:grpSp>
        <p:nvGrpSpPr>
          <p:cNvPr id="69" name="Group 68"/>
          <p:cNvGrpSpPr/>
          <p:nvPr/>
        </p:nvGrpSpPr>
        <p:grpSpPr>
          <a:xfrm>
            <a:off x="7931500" y="257147"/>
            <a:ext cx="2153647" cy="430189"/>
            <a:chOff x="7156765" y="71559"/>
            <a:chExt cx="2153647" cy="430189"/>
          </a:xfrm>
        </p:grpSpPr>
        <p:sp>
          <p:nvSpPr>
            <p:cNvPr id="70" name="Rectangle 95"/>
            <p:cNvSpPr txBox="1">
              <a:spLocks/>
            </p:cNvSpPr>
            <p:nvPr/>
          </p:nvSpPr>
          <p:spPr>
            <a:xfrm>
              <a:off x="7164487" y="71559"/>
              <a:ext cx="2145925" cy="399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82563" lvl="1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GB" sz="900" b="1" dirty="0" smtClean="0">
                  <a:solidFill>
                    <a:srgbClr val="000000"/>
                  </a:solidFill>
                </a:rPr>
                <a:t>Deliverables</a:t>
              </a:r>
            </a:p>
            <a:p>
              <a:pPr marL="182563" lvl="2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US" sz="900" b="1" dirty="0" smtClean="0">
                  <a:solidFill>
                    <a:srgbClr val="707277"/>
                  </a:solidFill>
                </a:rPr>
                <a:t>Milestones under the deliverable</a:t>
              </a:r>
            </a:p>
            <a:p>
              <a:pPr marL="182563" lvl="2" indent="0">
                <a:spcAft>
                  <a:spcPts val="100"/>
                </a:spcAft>
                <a:buClr>
                  <a:srgbClr val="FF0000"/>
                </a:buClr>
                <a:buFont typeface="Arial" charset="0"/>
                <a:buNone/>
              </a:pPr>
              <a:r>
                <a:rPr lang="en-GB" sz="900" b="1" dirty="0" smtClean="0">
                  <a:solidFill>
                    <a:srgbClr val="707277"/>
                  </a:solidFill>
                </a:rPr>
                <a:t>Completed</a:t>
              </a:r>
              <a:endParaRPr lang="en-US" sz="900" b="1" dirty="0" smtClean="0">
                <a:solidFill>
                  <a:srgbClr val="707277"/>
                </a:solidFill>
              </a:endParaRPr>
            </a:p>
          </p:txBody>
        </p:sp>
        <p:sp>
          <p:nvSpPr>
            <p:cNvPr id="71" name="Freeform 70"/>
            <p:cNvSpPr/>
            <p:nvPr/>
          </p:nvSpPr>
          <p:spPr bwMode="auto">
            <a:xfrm>
              <a:off x="7156765" y="393748"/>
              <a:ext cx="144000" cy="108000"/>
            </a:xfrm>
            <a:custGeom>
              <a:avLst/>
              <a:gdLst/>
              <a:ahLst/>
              <a:cxnLst/>
              <a:rect l="0" t="0" r="0" b="0"/>
              <a:pathLst>
                <a:path w="429015" h="407000">
                  <a:moveTo>
                    <a:pt x="418148" y="0"/>
                  </a:moveTo>
                  <a:lnTo>
                    <a:pt x="418148" y="0"/>
                  </a:lnTo>
                  <a:lnTo>
                    <a:pt x="429014" y="15381"/>
                  </a:lnTo>
                  <a:lnTo>
                    <a:pt x="429014" y="15381"/>
                  </a:lnTo>
                  <a:lnTo>
                    <a:pt x="420687" y="21873"/>
                  </a:lnTo>
                  <a:lnTo>
                    <a:pt x="412360" y="28647"/>
                  </a:lnTo>
                  <a:lnTo>
                    <a:pt x="403613" y="36127"/>
                  </a:lnTo>
                  <a:lnTo>
                    <a:pt x="395003" y="43606"/>
                  </a:lnTo>
                  <a:lnTo>
                    <a:pt x="386113" y="51791"/>
                  </a:lnTo>
                  <a:lnTo>
                    <a:pt x="377222" y="60400"/>
                  </a:lnTo>
                  <a:lnTo>
                    <a:pt x="368331" y="69291"/>
                  </a:lnTo>
                  <a:lnTo>
                    <a:pt x="359158" y="78605"/>
                  </a:lnTo>
                  <a:lnTo>
                    <a:pt x="349845" y="88483"/>
                  </a:lnTo>
                  <a:lnTo>
                    <a:pt x="340530" y="98644"/>
                  </a:lnTo>
                  <a:lnTo>
                    <a:pt x="331075" y="109369"/>
                  </a:lnTo>
                  <a:lnTo>
                    <a:pt x="321337" y="120376"/>
                  </a:lnTo>
                  <a:lnTo>
                    <a:pt x="311741" y="131808"/>
                  </a:lnTo>
                  <a:lnTo>
                    <a:pt x="301863" y="143663"/>
                  </a:lnTo>
                  <a:lnTo>
                    <a:pt x="291702" y="156083"/>
                  </a:lnTo>
                  <a:lnTo>
                    <a:pt x="281682" y="168783"/>
                  </a:lnTo>
                  <a:lnTo>
                    <a:pt x="281682" y="168783"/>
                  </a:lnTo>
                  <a:lnTo>
                    <a:pt x="271803" y="181625"/>
                  </a:lnTo>
                  <a:lnTo>
                    <a:pt x="262207" y="194326"/>
                  </a:lnTo>
                  <a:lnTo>
                    <a:pt x="252609" y="207168"/>
                  </a:lnTo>
                  <a:lnTo>
                    <a:pt x="243718" y="219588"/>
                  </a:lnTo>
                  <a:lnTo>
                    <a:pt x="234829" y="232147"/>
                  </a:lnTo>
                  <a:lnTo>
                    <a:pt x="226502" y="244566"/>
                  </a:lnTo>
                  <a:lnTo>
                    <a:pt x="218176" y="256703"/>
                  </a:lnTo>
                  <a:lnTo>
                    <a:pt x="210273" y="268840"/>
                  </a:lnTo>
                  <a:lnTo>
                    <a:pt x="202794" y="280976"/>
                  </a:lnTo>
                  <a:lnTo>
                    <a:pt x="195456" y="292971"/>
                  </a:lnTo>
                  <a:lnTo>
                    <a:pt x="188540" y="304685"/>
                  </a:lnTo>
                  <a:lnTo>
                    <a:pt x="181907" y="316398"/>
                  </a:lnTo>
                  <a:lnTo>
                    <a:pt x="175416" y="327969"/>
                  </a:lnTo>
                  <a:lnTo>
                    <a:pt x="169348" y="339401"/>
                  </a:lnTo>
                  <a:lnTo>
                    <a:pt x="163703" y="350832"/>
                  </a:lnTo>
                  <a:lnTo>
                    <a:pt x="158058" y="362263"/>
                  </a:lnTo>
                  <a:lnTo>
                    <a:pt x="135196" y="377645"/>
                  </a:lnTo>
                  <a:lnTo>
                    <a:pt x="135196" y="377645"/>
                  </a:lnTo>
                  <a:lnTo>
                    <a:pt x="122071" y="386817"/>
                  </a:lnTo>
                  <a:lnTo>
                    <a:pt x="111205" y="394862"/>
                  </a:lnTo>
                  <a:lnTo>
                    <a:pt x="102738" y="401495"/>
                  </a:lnTo>
                  <a:lnTo>
                    <a:pt x="99351" y="404600"/>
                  </a:lnTo>
                  <a:lnTo>
                    <a:pt x="96387" y="406999"/>
                  </a:lnTo>
                  <a:lnTo>
                    <a:pt x="96387" y="406999"/>
                  </a:lnTo>
                  <a:lnTo>
                    <a:pt x="95258" y="403048"/>
                  </a:lnTo>
                  <a:lnTo>
                    <a:pt x="93988" y="398673"/>
                  </a:lnTo>
                  <a:lnTo>
                    <a:pt x="90178" y="387806"/>
                  </a:lnTo>
                  <a:lnTo>
                    <a:pt x="85096" y="374682"/>
                  </a:lnTo>
                  <a:lnTo>
                    <a:pt x="79028" y="359299"/>
                  </a:lnTo>
                  <a:lnTo>
                    <a:pt x="70279" y="339260"/>
                  </a:lnTo>
                  <a:lnTo>
                    <a:pt x="70279" y="339260"/>
                  </a:lnTo>
                  <a:lnTo>
                    <a:pt x="65622" y="328816"/>
                  </a:lnTo>
                  <a:lnTo>
                    <a:pt x="61106" y="319079"/>
                  </a:lnTo>
                  <a:lnTo>
                    <a:pt x="56590" y="310047"/>
                  </a:lnTo>
                  <a:lnTo>
                    <a:pt x="52357" y="301580"/>
                  </a:lnTo>
                  <a:lnTo>
                    <a:pt x="47982" y="294100"/>
                  </a:lnTo>
                  <a:lnTo>
                    <a:pt x="43889" y="287044"/>
                  </a:lnTo>
                  <a:lnTo>
                    <a:pt x="39656" y="280976"/>
                  </a:lnTo>
                  <a:lnTo>
                    <a:pt x="35704" y="275190"/>
                  </a:lnTo>
                  <a:lnTo>
                    <a:pt x="35704" y="275190"/>
                  </a:lnTo>
                  <a:lnTo>
                    <a:pt x="31753" y="270250"/>
                  </a:lnTo>
                  <a:lnTo>
                    <a:pt x="27518" y="266018"/>
                  </a:lnTo>
                  <a:lnTo>
                    <a:pt x="23144" y="261783"/>
                  </a:lnTo>
                  <a:lnTo>
                    <a:pt x="18769" y="258114"/>
                  </a:lnTo>
                  <a:lnTo>
                    <a:pt x="14253" y="255009"/>
                  </a:lnTo>
                  <a:lnTo>
                    <a:pt x="9737" y="252045"/>
                  </a:lnTo>
                  <a:lnTo>
                    <a:pt x="4939" y="249787"/>
                  </a:lnTo>
                  <a:lnTo>
                    <a:pt x="0" y="247953"/>
                  </a:lnTo>
                  <a:lnTo>
                    <a:pt x="0" y="247953"/>
                  </a:lnTo>
                  <a:lnTo>
                    <a:pt x="4234" y="243578"/>
                  </a:lnTo>
                  <a:lnTo>
                    <a:pt x="8326" y="239627"/>
                  </a:lnTo>
                  <a:lnTo>
                    <a:pt x="12279" y="235957"/>
                  </a:lnTo>
                  <a:lnTo>
                    <a:pt x="16370" y="232288"/>
                  </a:lnTo>
                  <a:lnTo>
                    <a:pt x="20322" y="229325"/>
                  </a:lnTo>
                  <a:lnTo>
                    <a:pt x="24273" y="226502"/>
                  </a:lnTo>
                  <a:lnTo>
                    <a:pt x="28084" y="223821"/>
                  </a:lnTo>
                  <a:lnTo>
                    <a:pt x="32034" y="221281"/>
                  </a:lnTo>
                  <a:lnTo>
                    <a:pt x="35845" y="219445"/>
                  </a:lnTo>
                  <a:lnTo>
                    <a:pt x="39656" y="217611"/>
                  </a:lnTo>
                  <a:lnTo>
                    <a:pt x="43325" y="216060"/>
                  </a:lnTo>
                  <a:lnTo>
                    <a:pt x="46853" y="214931"/>
                  </a:lnTo>
                  <a:lnTo>
                    <a:pt x="50663" y="213942"/>
                  </a:lnTo>
                  <a:lnTo>
                    <a:pt x="54332" y="213238"/>
                  </a:lnTo>
                  <a:lnTo>
                    <a:pt x="57719" y="212813"/>
                  </a:lnTo>
                  <a:lnTo>
                    <a:pt x="61247" y="212672"/>
                  </a:lnTo>
                  <a:lnTo>
                    <a:pt x="61247" y="212672"/>
                  </a:lnTo>
                  <a:lnTo>
                    <a:pt x="62659" y="212672"/>
                  </a:lnTo>
                  <a:lnTo>
                    <a:pt x="64212" y="212813"/>
                  </a:lnTo>
                  <a:lnTo>
                    <a:pt x="65622" y="213238"/>
                  </a:lnTo>
                  <a:lnTo>
                    <a:pt x="67176" y="213520"/>
                  </a:lnTo>
                  <a:lnTo>
                    <a:pt x="70420" y="214931"/>
                  </a:lnTo>
                  <a:lnTo>
                    <a:pt x="73526" y="216624"/>
                  </a:lnTo>
                  <a:lnTo>
                    <a:pt x="76631" y="218882"/>
                  </a:lnTo>
                  <a:lnTo>
                    <a:pt x="79876" y="221703"/>
                  </a:lnTo>
                  <a:lnTo>
                    <a:pt x="83120" y="224950"/>
                  </a:lnTo>
                  <a:lnTo>
                    <a:pt x="86368" y="228760"/>
                  </a:lnTo>
                  <a:lnTo>
                    <a:pt x="89754" y="233135"/>
                  </a:lnTo>
                  <a:lnTo>
                    <a:pt x="93000" y="237792"/>
                  </a:lnTo>
                  <a:lnTo>
                    <a:pt x="96387" y="243155"/>
                  </a:lnTo>
                  <a:lnTo>
                    <a:pt x="99915" y="248800"/>
                  </a:lnTo>
                  <a:lnTo>
                    <a:pt x="103443" y="255291"/>
                  </a:lnTo>
                  <a:lnTo>
                    <a:pt x="106830" y="262206"/>
                  </a:lnTo>
                  <a:lnTo>
                    <a:pt x="110499" y="269405"/>
                  </a:lnTo>
                  <a:lnTo>
                    <a:pt x="114027" y="277164"/>
                  </a:lnTo>
                  <a:lnTo>
                    <a:pt x="123765" y="298757"/>
                  </a:lnTo>
                  <a:lnTo>
                    <a:pt x="123765" y="298757"/>
                  </a:lnTo>
                  <a:lnTo>
                    <a:pt x="130397" y="287750"/>
                  </a:lnTo>
                  <a:lnTo>
                    <a:pt x="137313" y="277025"/>
                  </a:lnTo>
                  <a:lnTo>
                    <a:pt x="144510" y="266018"/>
                  </a:lnTo>
                  <a:lnTo>
                    <a:pt x="151707" y="255150"/>
                  </a:lnTo>
                  <a:lnTo>
                    <a:pt x="159328" y="244284"/>
                  </a:lnTo>
                  <a:lnTo>
                    <a:pt x="167090" y="233558"/>
                  </a:lnTo>
                  <a:lnTo>
                    <a:pt x="175275" y="222692"/>
                  </a:lnTo>
                  <a:lnTo>
                    <a:pt x="183319" y="212109"/>
                  </a:lnTo>
                  <a:lnTo>
                    <a:pt x="191928" y="201382"/>
                  </a:lnTo>
                  <a:lnTo>
                    <a:pt x="200676" y="190657"/>
                  </a:lnTo>
                  <a:lnTo>
                    <a:pt x="209568" y="180214"/>
                  </a:lnTo>
                  <a:lnTo>
                    <a:pt x="218882" y="169487"/>
                  </a:lnTo>
                  <a:lnTo>
                    <a:pt x="228337" y="159045"/>
                  </a:lnTo>
                  <a:lnTo>
                    <a:pt x="237792" y="148461"/>
                  </a:lnTo>
                  <a:lnTo>
                    <a:pt x="247952" y="138018"/>
                  </a:lnTo>
                  <a:lnTo>
                    <a:pt x="257973" y="127575"/>
                  </a:lnTo>
                  <a:lnTo>
                    <a:pt x="257973" y="127575"/>
                  </a:lnTo>
                  <a:lnTo>
                    <a:pt x="268275" y="117273"/>
                  </a:lnTo>
                  <a:lnTo>
                    <a:pt x="278436" y="107395"/>
                  </a:lnTo>
                  <a:lnTo>
                    <a:pt x="288597" y="97798"/>
                  </a:lnTo>
                  <a:lnTo>
                    <a:pt x="298757" y="88483"/>
                  </a:lnTo>
                  <a:lnTo>
                    <a:pt x="308918" y="79593"/>
                  </a:lnTo>
                  <a:lnTo>
                    <a:pt x="318938" y="70843"/>
                  </a:lnTo>
                  <a:lnTo>
                    <a:pt x="328958" y="62235"/>
                  </a:lnTo>
                  <a:lnTo>
                    <a:pt x="338979" y="54050"/>
                  </a:lnTo>
                  <a:lnTo>
                    <a:pt x="349138" y="46287"/>
                  </a:lnTo>
                  <a:lnTo>
                    <a:pt x="359016" y="38667"/>
                  </a:lnTo>
                  <a:lnTo>
                    <a:pt x="368896" y="31470"/>
                  </a:lnTo>
                  <a:lnTo>
                    <a:pt x="378915" y="24696"/>
                  </a:lnTo>
                  <a:lnTo>
                    <a:pt x="388794" y="18063"/>
                  </a:lnTo>
                  <a:lnTo>
                    <a:pt x="398673" y="11712"/>
                  </a:lnTo>
                  <a:lnTo>
                    <a:pt x="408268" y="5643"/>
                  </a:lnTo>
                  <a:lnTo>
                    <a:pt x="418148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  <a:miter lim="800000"/>
              <a:headEnd type="none" w="sm" len="sm"/>
              <a:tailEnd type="none" w="sm" len="sm"/>
            </a:ln>
            <a:effectLst/>
            <a:extLst/>
          </p:spPr>
          <p:txBody>
            <a:bodyPr lIns="54000" tIns="18000" rIns="18000" rtlCol="0" anchor="ctr"/>
            <a:lstStyle/>
            <a:p>
              <a:pPr marL="265113" indent="-258763" algn="ctr" defTabSz="952500" eaLnBrk="0" hangingPunct="0">
                <a:lnSpc>
                  <a:spcPct val="95000"/>
                </a:lnSpc>
                <a:spcBef>
                  <a:spcPts val="500"/>
                </a:spcBef>
                <a:spcAft>
                  <a:spcPts val="600"/>
                </a:spcAft>
                <a:buFont typeface="+mj-lt"/>
                <a:buAutoNum type="arabicPeriod"/>
              </a:pPr>
              <a:endParaRPr lang="en-US" sz="900" dirty="0" smtClean="0">
                <a:solidFill>
                  <a:srgbClr val="707277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</p:grpSp>
      <p:sp>
        <p:nvSpPr>
          <p:cNvPr id="41" name="TextBox 1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61217" y="1031359"/>
            <a:ext cx="950208" cy="4992351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None/>
            </a:pPr>
            <a:r>
              <a:rPr lang="en-US" sz="900" b="1" dirty="0">
                <a:solidFill>
                  <a:srgbClr val="FFFFFF"/>
                </a:solidFill>
              </a:rPr>
              <a:t>Risk Governance &amp; Organization</a:t>
            </a:r>
          </a:p>
        </p:txBody>
      </p:sp>
      <p:sp>
        <p:nvSpPr>
          <p:cNvPr id="43" name="Rectangle 95"/>
          <p:cNvSpPr txBox="1">
            <a:spLocks/>
          </p:cNvSpPr>
          <p:nvPr/>
        </p:nvSpPr>
        <p:spPr>
          <a:xfrm>
            <a:off x="8015964" y="1033200"/>
            <a:ext cx="608648" cy="22729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ctr">
              <a:spcAft>
                <a:spcPts val="100"/>
              </a:spcAft>
            </a:pPr>
            <a:endParaRPr lang="en-US" sz="800" dirty="0" smtClean="0"/>
          </a:p>
          <a:p>
            <a:pPr fontAlgn="ctr">
              <a:spcAft>
                <a:spcPts val="100"/>
              </a:spcAft>
            </a:pPr>
            <a:endParaRPr lang="en-US" sz="800" dirty="0"/>
          </a:p>
          <a:p>
            <a:pPr fontAlgn="ctr">
              <a:spcAft>
                <a:spcPts val="100"/>
              </a:spcAft>
            </a:pPr>
            <a:r>
              <a:rPr lang="en-US" sz="900" dirty="0" smtClean="0">
                <a:solidFill>
                  <a:schemeClr val="accent1"/>
                </a:solidFill>
              </a:rPr>
              <a:t>04/04/17</a:t>
            </a:r>
            <a:endParaRPr lang="en-US" sz="900" dirty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chemeClr val="accent1"/>
                </a:solidFill>
              </a:rPr>
              <a:t>10/02/15</a:t>
            </a:r>
            <a:endParaRPr lang="en-US" sz="900" dirty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chemeClr val="accent1"/>
                </a:solidFill>
              </a:rPr>
              <a:t>11/06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800" dirty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chemeClr val="accent1"/>
                </a:solidFill>
              </a:rPr>
              <a:t>10/02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chemeClr val="accent1"/>
                </a:solidFill>
              </a:rPr>
              <a:t>11/06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chemeClr val="accent1"/>
                </a:solidFill>
              </a:rPr>
              <a:t>11/09/16</a:t>
            </a:r>
            <a:r>
              <a:rPr lang="en-US" sz="900" baseline="30000" dirty="0">
                <a:solidFill>
                  <a:schemeClr val="accent1"/>
                </a:solidFill>
              </a:rPr>
              <a:t>1</a:t>
            </a:r>
            <a:endParaRPr lang="en-US" sz="900" dirty="0" smtClean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chemeClr val="accent1"/>
                </a:solidFill>
              </a:rPr>
              <a:t>01/22/16</a:t>
            </a:r>
            <a:endParaRPr lang="en-US" sz="900" dirty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chemeClr val="accent1"/>
                </a:solidFill>
              </a:rPr>
              <a:t>01/25/17</a:t>
            </a:r>
            <a:r>
              <a:rPr lang="en-US" sz="900" baseline="30000" dirty="0">
                <a:solidFill>
                  <a:schemeClr val="accent1"/>
                </a:solidFill>
              </a:rPr>
              <a:t>1</a:t>
            </a:r>
            <a:endParaRPr lang="en-US" sz="900" dirty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chemeClr val="accent1"/>
                </a:solidFill>
              </a:rPr>
              <a:t>04/01/16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chemeClr val="accent1"/>
                </a:solidFill>
              </a:rPr>
              <a:t>04/04/17</a:t>
            </a:r>
            <a:r>
              <a:rPr lang="en-US" sz="900" baseline="30000" dirty="0" smtClean="0">
                <a:solidFill>
                  <a:schemeClr val="accent1"/>
                </a:solidFill>
              </a:rPr>
              <a:t>1</a:t>
            </a:r>
            <a:endParaRPr lang="en-US" sz="900" dirty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chemeClr val="accent1"/>
                </a:solidFill>
              </a:rPr>
              <a:t>10/02/15</a:t>
            </a:r>
          </a:p>
        </p:txBody>
      </p:sp>
      <p:sp>
        <p:nvSpPr>
          <p:cNvPr id="44" name="Rectangle 95"/>
          <p:cNvSpPr txBox="1">
            <a:spLocks/>
          </p:cNvSpPr>
          <p:nvPr/>
        </p:nvSpPr>
        <p:spPr>
          <a:xfrm>
            <a:off x="7369491" y="1023152"/>
            <a:ext cx="548640" cy="2590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ctr">
              <a:spcAft>
                <a:spcPts val="100"/>
              </a:spcAft>
            </a:pPr>
            <a:endParaRPr lang="en-US" sz="800" dirty="0"/>
          </a:p>
          <a:p>
            <a:pPr fontAlgn="ctr">
              <a:spcAft>
                <a:spcPts val="100"/>
              </a:spcAft>
            </a:pPr>
            <a:endParaRPr lang="en-US" sz="900" dirty="0" smtClean="0"/>
          </a:p>
          <a:p>
            <a:pPr fontAlgn="ctr">
              <a:spcAft>
                <a:spcPts val="100"/>
              </a:spcAft>
            </a:pPr>
            <a:r>
              <a:rPr lang="en-US" sz="900" dirty="0" smtClean="0">
                <a:solidFill>
                  <a:schemeClr val="accent1"/>
                </a:solidFill>
              </a:rPr>
              <a:t>08/03/15</a:t>
            </a:r>
            <a:endParaRPr lang="en-US" sz="900" dirty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chemeClr val="accent1"/>
                </a:solidFill>
              </a:rPr>
              <a:t>08/03/15</a:t>
            </a:r>
            <a:endParaRPr lang="en-US" sz="900" dirty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chemeClr val="accent1"/>
                </a:solidFill>
              </a:rPr>
              <a:t>08/31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800" dirty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chemeClr val="accent1"/>
                </a:solidFill>
              </a:rPr>
              <a:t>08/31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chemeClr val="accent1"/>
                </a:solidFill>
              </a:rPr>
              <a:t>10/05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chemeClr val="accent1"/>
                </a:solidFill>
              </a:rPr>
              <a:t>11/09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chemeClr val="accent1"/>
                </a:solidFill>
              </a:rPr>
              <a:t>11/16/15</a:t>
            </a:r>
            <a:endParaRPr lang="en-US" sz="900" dirty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chemeClr val="accent1"/>
                </a:solidFill>
              </a:rPr>
              <a:t>01/25/16</a:t>
            </a:r>
            <a:endParaRPr lang="en-US" sz="900" dirty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chemeClr val="accent1"/>
                </a:solidFill>
              </a:rPr>
              <a:t>02/01/16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chemeClr val="accent1"/>
                </a:solidFill>
              </a:rPr>
              <a:t>04/04/16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chemeClr val="accent1"/>
                </a:solidFill>
              </a:rPr>
              <a:t>08/03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chemeClr val="tx2"/>
              </a:solidFill>
            </a:endParaRPr>
          </a:p>
          <a:p>
            <a:pPr marL="0" lvl="1" indent="0" fontAlgn="ctr">
              <a:spcAft>
                <a:spcPts val="100"/>
              </a:spcAft>
              <a:buSzTx/>
              <a:buNone/>
            </a:pPr>
            <a:endParaRPr lang="en-US" sz="900" dirty="0"/>
          </a:p>
        </p:txBody>
      </p:sp>
      <p:sp>
        <p:nvSpPr>
          <p:cNvPr id="45" name="Rectangle 95"/>
          <p:cNvSpPr txBox="1">
            <a:spLocks/>
          </p:cNvSpPr>
          <p:nvPr/>
        </p:nvSpPr>
        <p:spPr>
          <a:xfrm>
            <a:off x="8977882" y="1031502"/>
            <a:ext cx="849697" cy="299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/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/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/>
              <a:t>Design Operating Model combining all risk types </a:t>
            </a:r>
            <a:r>
              <a:rPr lang="en-US" sz="900" dirty="0"/>
              <a:t> 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/>
          </a:p>
          <a:p>
            <a:pPr marL="0" lvl="1" indent="0"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/>
          </a:p>
          <a:p>
            <a:pPr marL="0" lvl="1" indent="0"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/>
          </a:p>
          <a:p>
            <a:pPr marL="0" lvl="1" indent="0"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/>
          </a:p>
          <a:p>
            <a:pPr marL="0" lvl="1" indent="0"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/>
          </a:p>
          <a:p>
            <a:pPr marL="0" lvl="1" indent="0"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/>
          </a:p>
          <a:p>
            <a:pPr marL="0" lvl="1" indent="0"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/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200"/>
              </a:spcAft>
              <a:buClr>
                <a:srgbClr val="FF0000"/>
              </a:buClr>
              <a:buNone/>
            </a:pPr>
            <a:endParaRPr lang="en-GB" sz="900" dirty="0"/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200"/>
              </a:spcAft>
              <a:buClr>
                <a:srgbClr val="FF0000"/>
              </a:buClr>
              <a:buNone/>
            </a:pPr>
            <a:r>
              <a:rPr lang="en-GB" sz="900" dirty="0" smtClean="0"/>
              <a:t>Focus on design phase this year</a:t>
            </a:r>
            <a:endParaRPr lang="en-GB" sz="900" dirty="0"/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/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800" dirty="0" smtClean="0"/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800" dirty="0"/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800" dirty="0"/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/>
          </a:p>
        </p:txBody>
      </p:sp>
      <p:sp>
        <p:nvSpPr>
          <p:cNvPr id="55" name="Rectangle 5"/>
          <p:cNvSpPr txBox="1">
            <a:spLocks/>
          </p:cNvSpPr>
          <p:nvPr/>
        </p:nvSpPr>
        <p:spPr>
          <a:xfrm>
            <a:off x="1430456" y="826352"/>
            <a:ext cx="584120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Deliverables / milestones</a:t>
            </a:r>
            <a:endParaRPr lang="en-US" sz="900" b="1" dirty="0"/>
          </a:p>
        </p:txBody>
      </p:sp>
      <p:sp>
        <p:nvSpPr>
          <p:cNvPr id="56" name="Rectangle 5"/>
          <p:cNvSpPr txBox="1">
            <a:spLocks/>
          </p:cNvSpPr>
          <p:nvPr/>
        </p:nvSpPr>
        <p:spPr>
          <a:xfrm>
            <a:off x="8015964" y="826352"/>
            <a:ext cx="86408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Finish</a:t>
            </a:r>
            <a:endParaRPr lang="en-US" sz="900" b="1" dirty="0"/>
          </a:p>
        </p:txBody>
      </p:sp>
      <p:sp>
        <p:nvSpPr>
          <p:cNvPr id="57" name="Rectangle 5"/>
          <p:cNvSpPr txBox="1">
            <a:spLocks/>
          </p:cNvSpPr>
          <p:nvPr/>
        </p:nvSpPr>
        <p:spPr>
          <a:xfrm>
            <a:off x="361217" y="826352"/>
            <a:ext cx="95020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ub-workstream</a:t>
            </a:r>
            <a:endParaRPr lang="en-US" sz="900" b="1" dirty="0"/>
          </a:p>
        </p:txBody>
      </p:sp>
      <p:cxnSp>
        <p:nvCxnSpPr>
          <p:cNvPr id="60" name="Straight Connector 59"/>
          <p:cNvCxnSpPr>
            <a:cxnSpLocks/>
          </p:cNvCxnSpPr>
          <p:nvPr/>
        </p:nvCxnSpPr>
        <p:spPr bwMode="auto">
          <a:xfrm>
            <a:off x="1430456" y="991872"/>
            <a:ext cx="5841202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Straight Connector 60"/>
          <p:cNvCxnSpPr>
            <a:cxnSpLocks/>
          </p:cNvCxnSpPr>
          <p:nvPr/>
        </p:nvCxnSpPr>
        <p:spPr bwMode="auto">
          <a:xfrm>
            <a:off x="8015964" y="991872"/>
            <a:ext cx="864085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5" name="Rectangle 5"/>
          <p:cNvSpPr txBox="1">
            <a:spLocks/>
          </p:cNvSpPr>
          <p:nvPr/>
        </p:nvSpPr>
        <p:spPr>
          <a:xfrm>
            <a:off x="7369491" y="826352"/>
            <a:ext cx="54864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tart</a:t>
            </a:r>
            <a:endParaRPr lang="en-US" sz="900" b="1" dirty="0"/>
          </a:p>
        </p:txBody>
      </p:sp>
      <p:cxnSp>
        <p:nvCxnSpPr>
          <p:cNvPr id="66" name="Straight Connector 65"/>
          <p:cNvCxnSpPr>
            <a:cxnSpLocks/>
          </p:cNvCxnSpPr>
          <p:nvPr/>
        </p:nvCxnSpPr>
        <p:spPr bwMode="auto">
          <a:xfrm>
            <a:off x="7369491" y="991872"/>
            <a:ext cx="548640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7" name="Rectangle 5"/>
          <p:cNvSpPr txBox="1">
            <a:spLocks/>
          </p:cNvSpPr>
          <p:nvPr/>
        </p:nvSpPr>
        <p:spPr>
          <a:xfrm>
            <a:off x="8977882" y="826352"/>
            <a:ext cx="91336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Notes</a:t>
            </a:r>
            <a:endParaRPr lang="en-US" sz="900" b="1" dirty="0"/>
          </a:p>
        </p:txBody>
      </p:sp>
      <p:cxnSp>
        <p:nvCxnSpPr>
          <p:cNvPr id="68" name="Straight Connector 67"/>
          <p:cNvCxnSpPr>
            <a:cxnSpLocks/>
          </p:cNvCxnSpPr>
          <p:nvPr/>
        </p:nvCxnSpPr>
        <p:spPr bwMode="auto">
          <a:xfrm>
            <a:off x="8962642" y="991872"/>
            <a:ext cx="913369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Rectangle 3"/>
          <p:cNvSpPr txBox="1"/>
          <p:nvPr/>
        </p:nvSpPr>
        <p:spPr>
          <a:xfrm>
            <a:off x="280988" y="6023710"/>
            <a:ext cx="949325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lvl="1" indent="0">
              <a:spcAft>
                <a:spcPts val="100"/>
              </a:spcAft>
              <a:buClr>
                <a:schemeClr val="accent1"/>
              </a:buClr>
              <a:buNone/>
            </a:pPr>
            <a:r>
              <a:rPr lang="en-US" sz="800" dirty="0"/>
              <a:t>1 </a:t>
            </a:r>
            <a:r>
              <a:rPr lang="en-US" sz="800" dirty="0" smtClean="0"/>
              <a:t>Implementation finish date may be refined during the design phase</a:t>
            </a:r>
            <a:endParaRPr lang="en-US" sz="800" dirty="0"/>
          </a:p>
        </p:txBody>
      </p:sp>
      <p:sp>
        <p:nvSpPr>
          <p:cNvPr id="28" name="Rectangle 95"/>
          <p:cNvSpPr txBox="1">
            <a:spLocks/>
          </p:cNvSpPr>
          <p:nvPr/>
        </p:nvSpPr>
        <p:spPr>
          <a:xfrm>
            <a:off x="1430456" y="1013105"/>
            <a:ext cx="5841202" cy="4219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ctr">
              <a:spcAft>
                <a:spcPts val="100"/>
              </a:spcAft>
              <a:buClr>
                <a:schemeClr val="accent1"/>
              </a:buClr>
            </a:pPr>
            <a:r>
              <a:rPr lang="en-US" sz="900" b="1" u="sng" spc="-10" dirty="0" smtClean="0">
                <a:solidFill>
                  <a:srgbClr val="000000"/>
                </a:solidFill>
              </a:rPr>
              <a:t>Original</a:t>
            </a:r>
          </a:p>
          <a:p>
            <a:pPr fontAlgn="ctr">
              <a:spcAft>
                <a:spcPts val="100"/>
              </a:spcAft>
              <a:buClr>
                <a:schemeClr val="accent1"/>
              </a:buClr>
            </a:pPr>
            <a:endParaRPr lang="en-US" sz="900" spc="-10" dirty="0" smtClean="0">
              <a:solidFill>
                <a:srgbClr val="000000"/>
              </a:solidFill>
            </a:endParaRPr>
          </a:p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 smtClean="0">
                <a:solidFill>
                  <a:srgbClr val="000000"/>
                </a:solidFill>
              </a:rPr>
              <a:t>Design Operating Model </a:t>
            </a:r>
            <a:r>
              <a:rPr lang="en-US" sz="900" spc="-10" dirty="0">
                <a:solidFill>
                  <a:srgbClr val="000000"/>
                </a:solidFill>
              </a:rPr>
              <a:t>across Risk types aligned with principles </a:t>
            </a:r>
            <a:r>
              <a:rPr lang="en-US" sz="900" spc="-10" dirty="0" smtClean="0">
                <a:solidFill>
                  <a:srgbClr val="000000"/>
                </a:solidFill>
              </a:rPr>
              <a:t>of 3 </a:t>
            </a:r>
            <a:r>
              <a:rPr lang="en-US" sz="900" spc="-10" dirty="0">
                <a:solidFill>
                  <a:srgbClr val="000000"/>
                </a:solidFill>
              </a:rPr>
              <a:t>LOD, develop rollout plans </a:t>
            </a:r>
            <a:r>
              <a:rPr lang="en-US" sz="900" spc="-10" dirty="0"/>
              <a:t>and implement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chemeClr val="accent1"/>
                </a:solidFill>
              </a:rPr>
              <a:t>Determine </a:t>
            </a:r>
            <a:r>
              <a:rPr lang="en-US" sz="900" spc="-10" dirty="0">
                <a:solidFill>
                  <a:schemeClr val="accent1"/>
                </a:solidFill>
              </a:rPr>
              <a:t>the prioritization of </a:t>
            </a:r>
            <a:r>
              <a:rPr lang="en-US" sz="900" spc="-10" dirty="0" smtClean="0">
                <a:solidFill>
                  <a:schemeClr val="accent1"/>
                </a:solidFill>
              </a:rPr>
              <a:t>detailed operating model design </a:t>
            </a:r>
            <a:r>
              <a:rPr lang="en-US" sz="900" spc="-10" dirty="0">
                <a:solidFill>
                  <a:schemeClr val="accent1"/>
                </a:solidFill>
              </a:rPr>
              <a:t>and rollout by risk type / </a:t>
            </a:r>
            <a:r>
              <a:rPr lang="en-US" sz="900" spc="-10" dirty="0" smtClean="0">
                <a:solidFill>
                  <a:schemeClr val="accent1"/>
                </a:solidFill>
              </a:rPr>
              <a:t>function</a:t>
            </a:r>
            <a:endParaRPr lang="en-US" sz="900" spc="-10" dirty="0">
              <a:solidFill>
                <a:schemeClr val="accent1"/>
              </a:solidFill>
            </a:endParaRP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rgbClr val="FF0000"/>
                </a:solidFill>
              </a:rPr>
              <a:t>Design detailed operating model and </a:t>
            </a:r>
            <a:r>
              <a:rPr lang="en-US" sz="900" spc="-10" dirty="0">
                <a:solidFill>
                  <a:srgbClr val="FF0000"/>
                </a:solidFill>
              </a:rPr>
              <a:t>implementation plans for Risk Type / Function A &amp; B (Most likely Credit, ERM + RAS + Strategic)</a:t>
            </a:r>
          </a:p>
          <a:p>
            <a:pPr marL="453710" lvl="3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rgbClr val="FF0000"/>
                </a:solidFill>
              </a:rPr>
              <a:t>Define detailed organizational </a:t>
            </a:r>
            <a:r>
              <a:rPr lang="en-US" sz="900" spc="-10" dirty="0">
                <a:solidFill>
                  <a:srgbClr val="FF0000"/>
                </a:solidFill>
              </a:rPr>
              <a:t>structure and assess talent </a:t>
            </a:r>
            <a:r>
              <a:rPr lang="en-US" sz="900" spc="-10" dirty="0" smtClean="0">
                <a:solidFill>
                  <a:srgbClr val="FF0000"/>
                </a:solidFill>
              </a:rPr>
              <a:t>needs including target headcounts and skill sets</a:t>
            </a:r>
            <a:endParaRPr lang="en-US" sz="900" spc="-10" dirty="0">
              <a:solidFill>
                <a:srgbClr val="FF0000"/>
              </a:solidFill>
            </a:endParaRPr>
          </a:p>
          <a:p>
            <a:pPr marL="453710" lvl="3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FF0000"/>
                </a:solidFill>
              </a:rPr>
              <a:t>Develop rollout </a:t>
            </a:r>
            <a:r>
              <a:rPr lang="en-US" sz="900" spc="-10" dirty="0" smtClean="0">
                <a:solidFill>
                  <a:srgbClr val="FF0000"/>
                </a:solidFill>
              </a:rPr>
              <a:t>plan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rgbClr val="FF0000"/>
                </a:solidFill>
              </a:rPr>
              <a:t>Implement the redesigned Operating Model for Risk Type / Function A &amp; B</a:t>
            </a:r>
            <a:endParaRPr lang="en-US" sz="900" spc="-10" dirty="0">
              <a:solidFill>
                <a:srgbClr val="FF0000"/>
              </a:solidFill>
            </a:endParaRP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FF0000"/>
                </a:solidFill>
              </a:rPr>
              <a:t>Design </a:t>
            </a:r>
            <a:r>
              <a:rPr lang="en-US" sz="900" spc="-10" dirty="0" smtClean="0">
                <a:solidFill>
                  <a:srgbClr val="FF0000"/>
                </a:solidFill>
              </a:rPr>
              <a:t>detailed operating </a:t>
            </a:r>
            <a:r>
              <a:rPr lang="en-US" sz="900" spc="-10" dirty="0">
                <a:solidFill>
                  <a:srgbClr val="FF0000"/>
                </a:solidFill>
              </a:rPr>
              <a:t>model and implementation plans for Risk Type / Function C &amp; D (Most likely Market &amp; Liquidity, Compliance</a:t>
            </a:r>
            <a:r>
              <a:rPr lang="en-US" sz="900" spc="-10" dirty="0" smtClean="0">
                <a:solidFill>
                  <a:srgbClr val="FF0000"/>
                </a:solidFill>
              </a:rPr>
              <a:t>)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FF0000"/>
                </a:solidFill>
              </a:rPr>
              <a:t>Implement the redesigned Operating Model for Risk Type / Function </a:t>
            </a:r>
            <a:r>
              <a:rPr lang="en-US" sz="900" spc="-10" dirty="0" smtClean="0">
                <a:solidFill>
                  <a:srgbClr val="FF0000"/>
                </a:solidFill>
              </a:rPr>
              <a:t>C </a:t>
            </a:r>
            <a:r>
              <a:rPr lang="en-US" sz="900" spc="-10" dirty="0">
                <a:solidFill>
                  <a:srgbClr val="FF0000"/>
                </a:solidFill>
              </a:rPr>
              <a:t>&amp; D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FF0000"/>
                </a:solidFill>
              </a:rPr>
              <a:t>Design </a:t>
            </a:r>
            <a:r>
              <a:rPr lang="en-US" sz="900" spc="-10" dirty="0" smtClean="0">
                <a:solidFill>
                  <a:srgbClr val="FF0000"/>
                </a:solidFill>
              </a:rPr>
              <a:t>detailed operating </a:t>
            </a:r>
            <a:r>
              <a:rPr lang="en-US" sz="900" spc="-10" dirty="0">
                <a:solidFill>
                  <a:srgbClr val="FF0000"/>
                </a:solidFill>
              </a:rPr>
              <a:t>model and implementation plans for Risk Type / Function E &amp; F (Most likely Risk Management Information, Capital Risk</a:t>
            </a:r>
            <a:r>
              <a:rPr lang="en-US" sz="900" spc="-10" dirty="0" smtClean="0">
                <a:solidFill>
                  <a:srgbClr val="FF0000"/>
                </a:solidFill>
              </a:rPr>
              <a:t>)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FF0000"/>
                </a:solidFill>
              </a:rPr>
              <a:t>Implement the redesigned Operating Model for Risk Type / Function </a:t>
            </a:r>
            <a:r>
              <a:rPr lang="en-US" sz="900" spc="-10" dirty="0" smtClean="0">
                <a:solidFill>
                  <a:srgbClr val="FF0000"/>
                </a:solidFill>
              </a:rPr>
              <a:t>E </a:t>
            </a:r>
            <a:r>
              <a:rPr lang="en-US" sz="900" spc="-10" dirty="0">
                <a:solidFill>
                  <a:srgbClr val="FF0000"/>
                </a:solidFill>
              </a:rPr>
              <a:t>&amp; F</a:t>
            </a:r>
          </a:p>
          <a:p>
            <a:pPr marL="118800" lvl="1" indent="-118800" fontAlgn="ctr"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/>
              <a:t>Articulate desired risk culture by setting the “Tone from the Top” and conducting a risk culture assessment</a:t>
            </a:r>
            <a:endParaRPr lang="en-US" sz="900" spc="-10" dirty="0">
              <a:solidFill>
                <a:srgbClr val="000000"/>
              </a:solidFill>
            </a:endParaRPr>
          </a:p>
          <a:p>
            <a:pPr marL="118800" lvl="1" indent="-118800" fontAlgn="ctr">
              <a:spcAft>
                <a:spcPts val="100"/>
              </a:spcAft>
              <a:buClr>
                <a:schemeClr val="accent1"/>
              </a:buClr>
            </a:pPr>
            <a:endParaRPr lang="en-US" sz="900" spc="-10" dirty="0" smtClean="0">
              <a:solidFill>
                <a:srgbClr val="000000"/>
              </a:solidFill>
            </a:endParaRPr>
          </a:p>
          <a:p>
            <a:pPr marL="0" lvl="1" indent="0" fontAlgn="ctr">
              <a:spcAft>
                <a:spcPts val="100"/>
              </a:spcAft>
              <a:buClr>
                <a:schemeClr val="accent1"/>
              </a:buClr>
              <a:buNone/>
            </a:pPr>
            <a:r>
              <a:rPr lang="en-US" sz="900" b="1" u="sng" spc="-10" dirty="0" smtClean="0">
                <a:solidFill>
                  <a:srgbClr val="000000"/>
                </a:solidFill>
              </a:rPr>
              <a:t>Current</a:t>
            </a:r>
          </a:p>
          <a:p>
            <a:pPr marL="0" lvl="1" indent="0" fontAlgn="ctr">
              <a:spcAft>
                <a:spcPts val="100"/>
              </a:spcAft>
              <a:buClr>
                <a:schemeClr val="accent1"/>
              </a:buClr>
              <a:buNone/>
            </a:pPr>
            <a:endParaRPr lang="en-US" sz="900" spc="-10" dirty="0">
              <a:solidFill>
                <a:srgbClr val="000000"/>
              </a:solidFill>
            </a:endParaRPr>
          </a:p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Design Operating Model across Risk types aligned with principles of 3 LOD, develop rollout plans </a:t>
            </a:r>
            <a:r>
              <a:rPr lang="en-US" sz="900" spc="-10" dirty="0"/>
              <a:t>and implement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chemeClr val="accent1"/>
                </a:solidFill>
              </a:rPr>
              <a:t>Review </a:t>
            </a:r>
            <a:r>
              <a:rPr lang="en-US" sz="900" spc="-10" dirty="0">
                <a:solidFill>
                  <a:schemeClr val="accent1"/>
                </a:solidFill>
              </a:rPr>
              <a:t>of existing 1st </a:t>
            </a:r>
            <a:r>
              <a:rPr lang="en-US" sz="900" spc="-10" dirty="0" err="1">
                <a:solidFill>
                  <a:schemeClr val="accent1"/>
                </a:solidFill>
              </a:rPr>
              <a:t>LoD</a:t>
            </a:r>
            <a:r>
              <a:rPr lang="en-US" sz="900" spc="-10" dirty="0">
                <a:solidFill>
                  <a:schemeClr val="accent1"/>
                </a:solidFill>
              </a:rPr>
              <a:t> structure and capabilities </a:t>
            </a:r>
            <a:r>
              <a:rPr lang="en-US" sz="900" u="sng" spc="-10" dirty="0">
                <a:solidFill>
                  <a:schemeClr val="accent1"/>
                </a:solidFill>
              </a:rPr>
              <a:t>(in </a:t>
            </a:r>
            <a:r>
              <a:rPr lang="en-US" sz="900" u="sng" spc="-10" dirty="0" smtClean="0">
                <a:solidFill>
                  <a:schemeClr val="accent1"/>
                </a:solidFill>
              </a:rPr>
              <a:t>plan</a:t>
            </a:r>
            <a:r>
              <a:rPr lang="en-US" sz="900" u="sng" spc="-10" dirty="0">
                <a:solidFill>
                  <a:schemeClr val="accent1"/>
                </a:solidFill>
              </a:rPr>
              <a:t>, not in the slide to </a:t>
            </a:r>
            <a:r>
              <a:rPr lang="en-US" sz="900" u="sng" spc="-10" dirty="0" smtClean="0">
                <a:solidFill>
                  <a:schemeClr val="accent1"/>
                </a:solidFill>
              </a:rPr>
              <a:t>Fed, on CCAR side?)</a:t>
            </a:r>
            <a:endParaRPr lang="en-US" sz="900" spc="-10" dirty="0">
              <a:solidFill>
                <a:schemeClr val="accent1"/>
              </a:solidFill>
            </a:endParaRP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rgbClr val="FF0000"/>
                </a:solidFill>
              </a:rPr>
              <a:t>Design </a:t>
            </a:r>
            <a:r>
              <a:rPr lang="en-US" sz="900" spc="-10" dirty="0">
                <a:solidFill>
                  <a:srgbClr val="FF0000"/>
                </a:solidFill>
              </a:rPr>
              <a:t>detailed operating model and implementation plans for all risk types ex. Op </a:t>
            </a:r>
            <a:r>
              <a:rPr lang="en-US" sz="900" spc="-10" dirty="0" smtClean="0">
                <a:solidFill>
                  <a:srgbClr val="FF0000"/>
                </a:solidFill>
              </a:rPr>
              <a:t>risk</a:t>
            </a:r>
            <a:endParaRPr lang="en-US" sz="900" spc="-10" dirty="0">
              <a:solidFill>
                <a:srgbClr val="FF0000"/>
              </a:solidFill>
            </a:endParaRP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FF0000"/>
                </a:solidFill>
              </a:rPr>
              <a:t>Design detailed operating model and implementation plans for Op Risk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rgbClr val="FF0000"/>
                </a:solidFill>
              </a:rPr>
              <a:t>Implement </a:t>
            </a:r>
            <a:r>
              <a:rPr lang="en-US" sz="900" spc="-10" dirty="0">
                <a:solidFill>
                  <a:srgbClr val="FF0000"/>
                </a:solidFill>
              </a:rPr>
              <a:t>the redesigned Operating Model for all the risks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rgbClr val="FF0000"/>
                </a:solidFill>
              </a:rPr>
              <a:t>Post </a:t>
            </a:r>
            <a:r>
              <a:rPr lang="en-US" sz="900" spc="-10" dirty="0">
                <a:solidFill>
                  <a:srgbClr val="FF0000"/>
                </a:solidFill>
              </a:rPr>
              <a:t>Implementation </a:t>
            </a:r>
            <a:r>
              <a:rPr lang="en-US" sz="900" spc="-10" dirty="0" smtClean="0">
                <a:solidFill>
                  <a:srgbClr val="FF0000"/>
                </a:solidFill>
              </a:rPr>
              <a:t>Review</a:t>
            </a:r>
            <a:endParaRPr lang="en-US" sz="900" spc="-10" dirty="0">
              <a:solidFill>
                <a:srgbClr val="000000"/>
              </a:solidFill>
            </a:endParaRPr>
          </a:p>
          <a:p>
            <a:pPr marL="118800" lvl="1" indent="-118800" fontAlgn="ctr"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 smtClean="0"/>
              <a:t>Articulate </a:t>
            </a:r>
            <a:r>
              <a:rPr lang="en-US" sz="900" spc="-10" dirty="0"/>
              <a:t>desired risk culture by setting the “Tone from the Top” and conducting a risk culture assessment </a:t>
            </a:r>
          </a:p>
          <a:p>
            <a:pPr marL="171450" lvl="1" indent="-171450" fontAlgn="ctr">
              <a:spcAft>
                <a:spcPts val="100"/>
              </a:spcAft>
              <a:buClr>
                <a:schemeClr val="accent1"/>
              </a:buClr>
            </a:pPr>
            <a:endParaRPr lang="en-US" sz="900" spc="-10" dirty="0"/>
          </a:p>
          <a:p>
            <a:pPr marL="0" lvl="1" indent="0" fontAlgn="ctr">
              <a:spcAft>
                <a:spcPts val="100"/>
              </a:spcAft>
              <a:buClr>
                <a:schemeClr val="accent1"/>
              </a:buClr>
              <a:buNone/>
            </a:pPr>
            <a:endParaRPr lang="en-US" sz="900" u="sng" spc="-10" dirty="0">
              <a:solidFill>
                <a:srgbClr val="000000"/>
              </a:solidFill>
            </a:endParaRPr>
          </a:p>
          <a:p>
            <a:pPr marL="0" lvl="1" indent="0" fontAlgn="ctr">
              <a:spcAft>
                <a:spcPts val="100"/>
              </a:spcAft>
              <a:buClr>
                <a:schemeClr val="accent1"/>
              </a:buClr>
              <a:buNone/>
            </a:pPr>
            <a:endParaRPr lang="en-US" sz="900" spc="-10" dirty="0">
              <a:solidFill>
                <a:srgbClr val="000000"/>
              </a:solidFill>
            </a:endParaRPr>
          </a:p>
        </p:txBody>
      </p:sp>
      <p:sp>
        <p:nvSpPr>
          <p:cNvPr id="23" name="Rectangle 95"/>
          <p:cNvSpPr txBox="1">
            <a:spLocks/>
          </p:cNvSpPr>
          <p:nvPr/>
        </p:nvSpPr>
        <p:spPr>
          <a:xfrm>
            <a:off x="8015964" y="3624664"/>
            <a:ext cx="608648" cy="1142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ctr">
              <a:spcAft>
                <a:spcPts val="100"/>
              </a:spcAft>
            </a:pPr>
            <a:endParaRPr lang="en-US" sz="800" dirty="0" smtClean="0"/>
          </a:p>
          <a:p>
            <a:pPr fontAlgn="ctr">
              <a:spcAft>
                <a:spcPts val="100"/>
              </a:spcAft>
            </a:pPr>
            <a:r>
              <a:rPr lang="en-US" sz="900" dirty="0" smtClean="0">
                <a:solidFill>
                  <a:schemeClr val="accent1"/>
                </a:solidFill>
              </a:rPr>
              <a:t>05/02/17</a:t>
            </a:r>
            <a:endParaRPr lang="en-US" sz="900" dirty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chemeClr val="accent1"/>
                </a:solidFill>
              </a:rPr>
              <a:t>07/17/15</a:t>
            </a:r>
            <a:endParaRPr lang="en-US" sz="900" dirty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chemeClr val="accent1"/>
                </a:solidFill>
              </a:rPr>
              <a:t>11/06/15</a:t>
            </a:r>
            <a:endParaRPr lang="en-US" sz="900" dirty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chemeClr val="accent1"/>
                </a:solidFill>
              </a:rPr>
              <a:t>11/30/15</a:t>
            </a:r>
            <a:endParaRPr lang="en-US" sz="900" dirty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chemeClr val="accent1"/>
                </a:solidFill>
              </a:rPr>
              <a:t>04/04/17</a:t>
            </a:r>
            <a:endParaRPr lang="en-US" sz="900" dirty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chemeClr val="accent1"/>
                </a:solidFill>
              </a:rPr>
              <a:t>05/02/17</a:t>
            </a:r>
            <a:endParaRPr lang="en-US" sz="900" dirty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chemeClr val="accent1"/>
                </a:solidFill>
              </a:rPr>
              <a:t>04/01/16</a:t>
            </a:r>
          </a:p>
        </p:txBody>
      </p:sp>
      <p:sp>
        <p:nvSpPr>
          <p:cNvPr id="24" name="Rectangle 95"/>
          <p:cNvSpPr txBox="1">
            <a:spLocks/>
          </p:cNvSpPr>
          <p:nvPr/>
        </p:nvSpPr>
        <p:spPr>
          <a:xfrm>
            <a:off x="7369491" y="3614834"/>
            <a:ext cx="548640" cy="114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ctr">
              <a:spcAft>
                <a:spcPts val="100"/>
              </a:spcAft>
            </a:pPr>
            <a:endParaRPr lang="en-US" sz="800" dirty="0"/>
          </a:p>
          <a:p>
            <a:pPr fontAlgn="ctr">
              <a:spcAft>
                <a:spcPts val="100"/>
              </a:spcAft>
            </a:pPr>
            <a:r>
              <a:rPr lang="en-US" sz="900" dirty="0" smtClean="0">
                <a:solidFill>
                  <a:schemeClr val="accent1"/>
                </a:solidFill>
              </a:rPr>
              <a:t>06/22/15</a:t>
            </a:r>
            <a:endParaRPr lang="en-US" sz="900" dirty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chemeClr val="accent1"/>
                </a:solidFill>
              </a:rPr>
              <a:t>06/22/15</a:t>
            </a:r>
            <a:endParaRPr lang="en-US" sz="900" dirty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chemeClr val="accent1"/>
                </a:solidFill>
              </a:rPr>
              <a:t>07/13/15</a:t>
            </a:r>
            <a:endParaRPr lang="en-US" sz="900" dirty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chemeClr val="accent1"/>
                </a:solidFill>
              </a:rPr>
              <a:t>07/13/15</a:t>
            </a:r>
            <a:endParaRPr lang="en-US" sz="900" dirty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chemeClr val="accent1"/>
                </a:solidFill>
              </a:rPr>
              <a:t>11/09/15</a:t>
            </a:r>
            <a:endParaRPr lang="en-US" sz="900" dirty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chemeClr val="accent1"/>
                </a:solidFill>
              </a:rPr>
              <a:t>11/10/16</a:t>
            </a:r>
            <a:endParaRPr lang="en-US" sz="900" dirty="0">
              <a:solidFill>
                <a:schemeClr val="accent1"/>
              </a:solidFill>
            </a:endParaRPr>
          </a:p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 smtClean="0">
                <a:solidFill>
                  <a:schemeClr val="accent1"/>
                </a:solidFill>
              </a:rPr>
              <a:t>02/01/16</a:t>
            </a:r>
            <a:endParaRPr lang="en-US" sz="9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4288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2448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ectangle 72"/>
          <p:cNvSpPr>
            <a:spLocks/>
          </p:cNvSpPr>
          <p:nvPr/>
        </p:nvSpPr>
        <p:spPr>
          <a:xfrm>
            <a:off x="280988" y="763481"/>
            <a:ext cx="9718506" cy="531991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988" y="259774"/>
            <a:ext cx="9491663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Risk </a:t>
            </a:r>
            <a:r>
              <a:rPr lang="en-GB" dirty="0" smtClean="0"/>
              <a:t>Transformation project </a:t>
            </a:r>
            <a:r>
              <a:rPr lang="en-GB" dirty="0"/>
              <a:t>p</a:t>
            </a:r>
            <a:r>
              <a:rPr lang="en-GB" dirty="0" smtClean="0"/>
              <a:t>lan </a:t>
            </a:r>
            <a:r>
              <a:rPr lang="en-GB" dirty="0"/>
              <a:t>(</a:t>
            </a:r>
            <a:r>
              <a:rPr lang="en-GB" dirty="0" smtClean="0"/>
              <a:t>1/4)</a:t>
            </a:r>
            <a:endParaRPr lang="en-US" dirty="0"/>
          </a:p>
        </p:txBody>
      </p:sp>
      <p:grpSp>
        <p:nvGrpSpPr>
          <p:cNvPr id="69" name="Group 68"/>
          <p:cNvGrpSpPr/>
          <p:nvPr/>
        </p:nvGrpSpPr>
        <p:grpSpPr>
          <a:xfrm>
            <a:off x="7931500" y="257147"/>
            <a:ext cx="2153647" cy="430189"/>
            <a:chOff x="7156765" y="71559"/>
            <a:chExt cx="2153647" cy="430189"/>
          </a:xfrm>
        </p:grpSpPr>
        <p:sp>
          <p:nvSpPr>
            <p:cNvPr id="70" name="Rectangle 95"/>
            <p:cNvSpPr txBox="1">
              <a:spLocks/>
            </p:cNvSpPr>
            <p:nvPr/>
          </p:nvSpPr>
          <p:spPr>
            <a:xfrm>
              <a:off x="7164487" y="71559"/>
              <a:ext cx="2145925" cy="399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82563" lvl="1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GB" sz="900" b="1" dirty="0" smtClean="0">
                  <a:solidFill>
                    <a:srgbClr val="000000"/>
                  </a:solidFill>
                </a:rPr>
                <a:t>Deliverables</a:t>
              </a:r>
            </a:p>
            <a:p>
              <a:pPr marL="182563" lvl="2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US" sz="900" b="1" dirty="0" smtClean="0">
                  <a:solidFill>
                    <a:srgbClr val="707277"/>
                  </a:solidFill>
                </a:rPr>
                <a:t>Milestones under the deliverable</a:t>
              </a:r>
            </a:p>
            <a:p>
              <a:pPr marL="182563" lvl="2" indent="0">
                <a:spcAft>
                  <a:spcPts val="100"/>
                </a:spcAft>
                <a:buClr>
                  <a:srgbClr val="FF0000"/>
                </a:buClr>
                <a:buFont typeface="Arial" charset="0"/>
                <a:buNone/>
              </a:pPr>
              <a:r>
                <a:rPr lang="en-GB" sz="900" b="1" dirty="0" smtClean="0">
                  <a:solidFill>
                    <a:srgbClr val="707277"/>
                  </a:solidFill>
                </a:rPr>
                <a:t>Completed</a:t>
              </a:r>
              <a:endParaRPr lang="en-US" sz="900" b="1" dirty="0" smtClean="0">
                <a:solidFill>
                  <a:srgbClr val="707277"/>
                </a:solidFill>
              </a:endParaRPr>
            </a:p>
          </p:txBody>
        </p:sp>
        <p:sp>
          <p:nvSpPr>
            <p:cNvPr id="71" name="Freeform 70"/>
            <p:cNvSpPr/>
            <p:nvPr/>
          </p:nvSpPr>
          <p:spPr bwMode="auto">
            <a:xfrm>
              <a:off x="7156765" y="393748"/>
              <a:ext cx="144000" cy="108000"/>
            </a:xfrm>
            <a:custGeom>
              <a:avLst/>
              <a:gdLst/>
              <a:ahLst/>
              <a:cxnLst/>
              <a:rect l="0" t="0" r="0" b="0"/>
              <a:pathLst>
                <a:path w="429015" h="407000">
                  <a:moveTo>
                    <a:pt x="418148" y="0"/>
                  </a:moveTo>
                  <a:lnTo>
                    <a:pt x="418148" y="0"/>
                  </a:lnTo>
                  <a:lnTo>
                    <a:pt x="429014" y="15381"/>
                  </a:lnTo>
                  <a:lnTo>
                    <a:pt x="429014" y="15381"/>
                  </a:lnTo>
                  <a:lnTo>
                    <a:pt x="420687" y="21873"/>
                  </a:lnTo>
                  <a:lnTo>
                    <a:pt x="412360" y="28647"/>
                  </a:lnTo>
                  <a:lnTo>
                    <a:pt x="403613" y="36127"/>
                  </a:lnTo>
                  <a:lnTo>
                    <a:pt x="395003" y="43606"/>
                  </a:lnTo>
                  <a:lnTo>
                    <a:pt x="386113" y="51791"/>
                  </a:lnTo>
                  <a:lnTo>
                    <a:pt x="377222" y="60400"/>
                  </a:lnTo>
                  <a:lnTo>
                    <a:pt x="368331" y="69291"/>
                  </a:lnTo>
                  <a:lnTo>
                    <a:pt x="359158" y="78605"/>
                  </a:lnTo>
                  <a:lnTo>
                    <a:pt x="349845" y="88483"/>
                  </a:lnTo>
                  <a:lnTo>
                    <a:pt x="340530" y="98644"/>
                  </a:lnTo>
                  <a:lnTo>
                    <a:pt x="331075" y="109369"/>
                  </a:lnTo>
                  <a:lnTo>
                    <a:pt x="321337" y="120376"/>
                  </a:lnTo>
                  <a:lnTo>
                    <a:pt x="311741" y="131808"/>
                  </a:lnTo>
                  <a:lnTo>
                    <a:pt x="301863" y="143663"/>
                  </a:lnTo>
                  <a:lnTo>
                    <a:pt x="291702" y="156083"/>
                  </a:lnTo>
                  <a:lnTo>
                    <a:pt x="281682" y="168783"/>
                  </a:lnTo>
                  <a:lnTo>
                    <a:pt x="281682" y="168783"/>
                  </a:lnTo>
                  <a:lnTo>
                    <a:pt x="271803" y="181625"/>
                  </a:lnTo>
                  <a:lnTo>
                    <a:pt x="262207" y="194326"/>
                  </a:lnTo>
                  <a:lnTo>
                    <a:pt x="252609" y="207168"/>
                  </a:lnTo>
                  <a:lnTo>
                    <a:pt x="243718" y="219588"/>
                  </a:lnTo>
                  <a:lnTo>
                    <a:pt x="234829" y="232147"/>
                  </a:lnTo>
                  <a:lnTo>
                    <a:pt x="226502" y="244566"/>
                  </a:lnTo>
                  <a:lnTo>
                    <a:pt x="218176" y="256703"/>
                  </a:lnTo>
                  <a:lnTo>
                    <a:pt x="210273" y="268840"/>
                  </a:lnTo>
                  <a:lnTo>
                    <a:pt x="202794" y="280976"/>
                  </a:lnTo>
                  <a:lnTo>
                    <a:pt x="195456" y="292971"/>
                  </a:lnTo>
                  <a:lnTo>
                    <a:pt x="188540" y="304685"/>
                  </a:lnTo>
                  <a:lnTo>
                    <a:pt x="181907" y="316398"/>
                  </a:lnTo>
                  <a:lnTo>
                    <a:pt x="175416" y="327969"/>
                  </a:lnTo>
                  <a:lnTo>
                    <a:pt x="169348" y="339401"/>
                  </a:lnTo>
                  <a:lnTo>
                    <a:pt x="163703" y="350832"/>
                  </a:lnTo>
                  <a:lnTo>
                    <a:pt x="158058" y="362263"/>
                  </a:lnTo>
                  <a:lnTo>
                    <a:pt x="135196" y="377645"/>
                  </a:lnTo>
                  <a:lnTo>
                    <a:pt x="135196" y="377645"/>
                  </a:lnTo>
                  <a:lnTo>
                    <a:pt x="122071" y="386817"/>
                  </a:lnTo>
                  <a:lnTo>
                    <a:pt x="111205" y="394862"/>
                  </a:lnTo>
                  <a:lnTo>
                    <a:pt x="102738" y="401495"/>
                  </a:lnTo>
                  <a:lnTo>
                    <a:pt x="99351" y="404600"/>
                  </a:lnTo>
                  <a:lnTo>
                    <a:pt x="96387" y="406999"/>
                  </a:lnTo>
                  <a:lnTo>
                    <a:pt x="96387" y="406999"/>
                  </a:lnTo>
                  <a:lnTo>
                    <a:pt x="95258" y="403048"/>
                  </a:lnTo>
                  <a:lnTo>
                    <a:pt x="93988" y="398673"/>
                  </a:lnTo>
                  <a:lnTo>
                    <a:pt x="90178" y="387806"/>
                  </a:lnTo>
                  <a:lnTo>
                    <a:pt x="85096" y="374682"/>
                  </a:lnTo>
                  <a:lnTo>
                    <a:pt x="79028" y="359299"/>
                  </a:lnTo>
                  <a:lnTo>
                    <a:pt x="70279" y="339260"/>
                  </a:lnTo>
                  <a:lnTo>
                    <a:pt x="70279" y="339260"/>
                  </a:lnTo>
                  <a:lnTo>
                    <a:pt x="65622" y="328816"/>
                  </a:lnTo>
                  <a:lnTo>
                    <a:pt x="61106" y="319079"/>
                  </a:lnTo>
                  <a:lnTo>
                    <a:pt x="56590" y="310047"/>
                  </a:lnTo>
                  <a:lnTo>
                    <a:pt x="52357" y="301580"/>
                  </a:lnTo>
                  <a:lnTo>
                    <a:pt x="47982" y="294100"/>
                  </a:lnTo>
                  <a:lnTo>
                    <a:pt x="43889" y="287044"/>
                  </a:lnTo>
                  <a:lnTo>
                    <a:pt x="39656" y="280976"/>
                  </a:lnTo>
                  <a:lnTo>
                    <a:pt x="35704" y="275190"/>
                  </a:lnTo>
                  <a:lnTo>
                    <a:pt x="35704" y="275190"/>
                  </a:lnTo>
                  <a:lnTo>
                    <a:pt x="31753" y="270250"/>
                  </a:lnTo>
                  <a:lnTo>
                    <a:pt x="27518" y="266018"/>
                  </a:lnTo>
                  <a:lnTo>
                    <a:pt x="23144" y="261783"/>
                  </a:lnTo>
                  <a:lnTo>
                    <a:pt x="18769" y="258114"/>
                  </a:lnTo>
                  <a:lnTo>
                    <a:pt x="14253" y="255009"/>
                  </a:lnTo>
                  <a:lnTo>
                    <a:pt x="9737" y="252045"/>
                  </a:lnTo>
                  <a:lnTo>
                    <a:pt x="4939" y="249787"/>
                  </a:lnTo>
                  <a:lnTo>
                    <a:pt x="0" y="247953"/>
                  </a:lnTo>
                  <a:lnTo>
                    <a:pt x="0" y="247953"/>
                  </a:lnTo>
                  <a:lnTo>
                    <a:pt x="4234" y="243578"/>
                  </a:lnTo>
                  <a:lnTo>
                    <a:pt x="8326" y="239627"/>
                  </a:lnTo>
                  <a:lnTo>
                    <a:pt x="12279" y="235957"/>
                  </a:lnTo>
                  <a:lnTo>
                    <a:pt x="16370" y="232288"/>
                  </a:lnTo>
                  <a:lnTo>
                    <a:pt x="20322" y="229325"/>
                  </a:lnTo>
                  <a:lnTo>
                    <a:pt x="24273" y="226502"/>
                  </a:lnTo>
                  <a:lnTo>
                    <a:pt x="28084" y="223821"/>
                  </a:lnTo>
                  <a:lnTo>
                    <a:pt x="32034" y="221281"/>
                  </a:lnTo>
                  <a:lnTo>
                    <a:pt x="35845" y="219445"/>
                  </a:lnTo>
                  <a:lnTo>
                    <a:pt x="39656" y="217611"/>
                  </a:lnTo>
                  <a:lnTo>
                    <a:pt x="43325" y="216060"/>
                  </a:lnTo>
                  <a:lnTo>
                    <a:pt x="46853" y="214931"/>
                  </a:lnTo>
                  <a:lnTo>
                    <a:pt x="50663" y="213942"/>
                  </a:lnTo>
                  <a:lnTo>
                    <a:pt x="54332" y="213238"/>
                  </a:lnTo>
                  <a:lnTo>
                    <a:pt x="57719" y="212813"/>
                  </a:lnTo>
                  <a:lnTo>
                    <a:pt x="61247" y="212672"/>
                  </a:lnTo>
                  <a:lnTo>
                    <a:pt x="61247" y="212672"/>
                  </a:lnTo>
                  <a:lnTo>
                    <a:pt x="62659" y="212672"/>
                  </a:lnTo>
                  <a:lnTo>
                    <a:pt x="64212" y="212813"/>
                  </a:lnTo>
                  <a:lnTo>
                    <a:pt x="65622" y="213238"/>
                  </a:lnTo>
                  <a:lnTo>
                    <a:pt x="67176" y="213520"/>
                  </a:lnTo>
                  <a:lnTo>
                    <a:pt x="70420" y="214931"/>
                  </a:lnTo>
                  <a:lnTo>
                    <a:pt x="73526" y="216624"/>
                  </a:lnTo>
                  <a:lnTo>
                    <a:pt x="76631" y="218882"/>
                  </a:lnTo>
                  <a:lnTo>
                    <a:pt x="79876" y="221703"/>
                  </a:lnTo>
                  <a:lnTo>
                    <a:pt x="83120" y="224950"/>
                  </a:lnTo>
                  <a:lnTo>
                    <a:pt x="86368" y="228760"/>
                  </a:lnTo>
                  <a:lnTo>
                    <a:pt x="89754" y="233135"/>
                  </a:lnTo>
                  <a:lnTo>
                    <a:pt x="93000" y="237792"/>
                  </a:lnTo>
                  <a:lnTo>
                    <a:pt x="96387" y="243155"/>
                  </a:lnTo>
                  <a:lnTo>
                    <a:pt x="99915" y="248800"/>
                  </a:lnTo>
                  <a:lnTo>
                    <a:pt x="103443" y="255291"/>
                  </a:lnTo>
                  <a:lnTo>
                    <a:pt x="106830" y="262206"/>
                  </a:lnTo>
                  <a:lnTo>
                    <a:pt x="110499" y="269405"/>
                  </a:lnTo>
                  <a:lnTo>
                    <a:pt x="114027" y="277164"/>
                  </a:lnTo>
                  <a:lnTo>
                    <a:pt x="123765" y="298757"/>
                  </a:lnTo>
                  <a:lnTo>
                    <a:pt x="123765" y="298757"/>
                  </a:lnTo>
                  <a:lnTo>
                    <a:pt x="130397" y="287750"/>
                  </a:lnTo>
                  <a:lnTo>
                    <a:pt x="137313" y="277025"/>
                  </a:lnTo>
                  <a:lnTo>
                    <a:pt x="144510" y="266018"/>
                  </a:lnTo>
                  <a:lnTo>
                    <a:pt x="151707" y="255150"/>
                  </a:lnTo>
                  <a:lnTo>
                    <a:pt x="159328" y="244284"/>
                  </a:lnTo>
                  <a:lnTo>
                    <a:pt x="167090" y="233558"/>
                  </a:lnTo>
                  <a:lnTo>
                    <a:pt x="175275" y="222692"/>
                  </a:lnTo>
                  <a:lnTo>
                    <a:pt x="183319" y="212109"/>
                  </a:lnTo>
                  <a:lnTo>
                    <a:pt x="191928" y="201382"/>
                  </a:lnTo>
                  <a:lnTo>
                    <a:pt x="200676" y="190657"/>
                  </a:lnTo>
                  <a:lnTo>
                    <a:pt x="209568" y="180214"/>
                  </a:lnTo>
                  <a:lnTo>
                    <a:pt x="218882" y="169487"/>
                  </a:lnTo>
                  <a:lnTo>
                    <a:pt x="228337" y="159045"/>
                  </a:lnTo>
                  <a:lnTo>
                    <a:pt x="237792" y="148461"/>
                  </a:lnTo>
                  <a:lnTo>
                    <a:pt x="247952" y="138018"/>
                  </a:lnTo>
                  <a:lnTo>
                    <a:pt x="257973" y="127575"/>
                  </a:lnTo>
                  <a:lnTo>
                    <a:pt x="257973" y="127575"/>
                  </a:lnTo>
                  <a:lnTo>
                    <a:pt x="268275" y="117273"/>
                  </a:lnTo>
                  <a:lnTo>
                    <a:pt x="278436" y="107395"/>
                  </a:lnTo>
                  <a:lnTo>
                    <a:pt x="288597" y="97798"/>
                  </a:lnTo>
                  <a:lnTo>
                    <a:pt x="298757" y="88483"/>
                  </a:lnTo>
                  <a:lnTo>
                    <a:pt x="308918" y="79593"/>
                  </a:lnTo>
                  <a:lnTo>
                    <a:pt x="318938" y="70843"/>
                  </a:lnTo>
                  <a:lnTo>
                    <a:pt x="328958" y="62235"/>
                  </a:lnTo>
                  <a:lnTo>
                    <a:pt x="338979" y="54050"/>
                  </a:lnTo>
                  <a:lnTo>
                    <a:pt x="349138" y="46287"/>
                  </a:lnTo>
                  <a:lnTo>
                    <a:pt x="359016" y="38667"/>
                  </a:lnTo>
                  <a:lnTo>
                    <a:pt x="368896" y="31470"/>
                  </a:lnTo>
                  <a:lnTo>
                    <a:pt x="378915" y="24696"/>
                  </a:lnTo>
                  <a:lnTo>
                    <a:pt x="388794" y="18063"/>
                  </a:lnTo>
                  <a:lnTo>
                    <a:pt x="398673" y="11712"/>
                  </a:lnTo>
                  <a:lnTo>
                    <a:pt x="408268" y="5643"/>
                  </a:lnTo>
                  <a:lnTo>
                    <a:pt x="418148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  <a:miter lim="800000"/>
              <a:headEnd type="none" w="sm" len="sm"/>
              <a:tailEnd type="none" w="sm" len="sm"/>
            </a:ln>
            <a:effectLst/>
            <a:extLst/>
          </p:spPr>
          <p:txBody>
            <a:bodyPr lIns="54000" tIns="18000" rIns="18000" rtlCol="0" anchor="ctr"/>
            <a:lstStyle/>
            <a:p>
              <a:pPr marL="265113" indent="-258763" algn="ctr" defTabSz="952500" eaLnBrk="0" hangingPunct="0">
                <a:lnSpc>
                  <a:spcPct val="95000"/>
                </a:lnSpc>
                <a:spcBef>
                  <a:spcPts val="500"/>
                </a:spcBef>
                <a:spcAft>
                  <a:spcPts val="600"/>
                </a:spcAft>
                <a:buFont typeface="+mj-lt"/>
                <a:buAutoNum type="arabicPeriod"/>
              </a:pPr>
              <a:endParaRPr lang="en-US" sz="900" dirty="0" smtClean="0">
                <a:solidFill>
                  <a:srgbClr val="707277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</p:grpSp>
      <p:sp>
        <p:nvSpPr>
          <p:cNvPr id="41" name="TextBox 1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61217" y="1031359"/>
            <a:ext cx="950208" cy="4992351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None/>
            </a:pPr>
            <a:r>
              <a:rPr lang="en-US" sz="900" b="1" dirty="0">
                <a:solidFill>
                  <a:srgbClr val="FFFFFF"/>
                </a:solidFill>
              </a:rPr>
              <a:t>Risk Governance &amp; Organization</a:t>
            </a:r>
          </a:p>
        </p:txBody>
      </p:sp>
      <p:sp>
        <p:nvSpPr>
          <p:cNvPr id="43" name="Rectangle 95"/>
          <p:cNvSpPr txBox="1">
            <a:spLocks/>
          </p:cNvSpPr>
          <p:nvPr/>
        </p:nvSpPr>
        <p:spPr>
          <a:xfrm>
            <a:off x="8015964" y="1023152"/>
            <a:ext cx="608648" cy="4955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/>
              <a:t>11/30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chemeClr val="tx2"/>
                </a:solidFill>
              </a:rPr>
              <a:t>07/31/15</a:t>
            </a:r>
          </a:p>
          <a:p>
            <a:pPr marL="0" lvl="1" indent="0">
              <a:buClr>
                <a:srgbClr val="FF0000"/>
              </a:buClr>
              <a:buNone/>
            </a:pPr>
            <a:endParaRPr lang="en-GB" sz="900" dirty="0">
              <a:solidFill>
                <a:schemeClr val="tx2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chemeClr val="tx2"/>
                </a:solidFill>
              </a:rPr>
              <a:t>8/15/15</a:t>
            </a:r>
          </a:p>
          <a:p>
            <a:pPr marL="0" lvl="1" indent="0">
              <a:buClr>
                <a:srgbClr val="FF0000"/>
              </a:buClr>
              <a:buNone/>
            </a:pPr>
            <a:r>
              <a:rPr lang="en-GB" sz="900" dirty="0">
                <a:solidFill>
                  <a:schemeClr val="tx2"/>
                </a:solidFill>
              </a:rPr>
              <a:t>09/30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>
              <a:solidFill>
                <a:schemeClr val="tx2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chemeClr val="tx2"/>
                </a:solidFill>
              </a:rPr>
              <a:t>09/30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chemeClr val="tx2"/>
                </a:solidFill>
              </a:rPr>
              <a:t>09/30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chemeClr val="tx2"/>
                </a:solidFill>
              </a:rPr>
              <a:t>10/3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chemeClr val="tx2"/>
                </a:solidFill>
              </a:rPr>
              <a:t>11/30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/>
              <a:t>01/31/16</a:t>
            </a:r>
          </a:p>
          <a:p>
            <a:pPr marL="0" lvl="1" indent="0"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buClr>
                <a:srgbClr val="FF0000"/>
              </a:buClr>
              <a:buNone/>
            </a:pPr>
            <a:r>
              <a:rPr lang="en-GB" sz="900" dirty="0">
                <a:solidFill>
                  <a:schemeClr val="tx2"/>
                </a:solidFill>
              </a:rPr>
              <a:t>01/15/16</a:t>
            </a:r>
          </a:p>
          <a:p>
            <a:pPr marL="0" lvl="1" indent="0">
              <a:buClr>
                <a:srgbClr val="FF0000"/>
              </a:buClr>
              <a:buNone/>
            </a:pPr>
            <a:endParaRPr lang="en-GB" sz="900" dirty="0">
              <a:solidFill>
                <a:schemeClr val="tx2"/>
              </a:solidFill>
            </a:endParaRPr>
          </a:p>
          <a:p>
            <a:pPr marL="0" lvl="1" indent="0">
              <a:buClr>
                <a:srgbClr val="FF0000"/>
              </a:buClr>
              <a:buNone/>
            </a:pPr>
            <a:r>
              <a:rPr lang="en-GB" sz="900" dirty="0">
                <a:solidFill>
                  <a:schemeClr val="tx2"/>
                </a:solidFill>
              </a:rPr>
              <a:t>01/31/16</a:t>
            </a:r>
          </a:p>
          <a:p>
            <a:pPr fontAlgn="ctr">
              <a:spcAft>
                <a:spcPts val="100"/>
              </a:spcAft>
            </a:pPr>
            <a:r>
              <a:rPr lang="en-US" sz="900" dirty="0"/>
              <a:t>Ongoing</a:t>
            </a:r>
          </a:p>
          <a:p>
            <a:pPr fontAlgn="ctr">
              <a:spcAft>
                <a:spcPts val="100"/>
              </a:spcAft>
            </a:pPr>
            <a:r>
              <a:rPr lang="en-US" sz="900" dirty="0"/>
              <a:t>07/31/15</a:t>
            </a:r>
          </a:p>
          <a:p>
            <a:pPr fontAlgn="ctr">
              <a:spcAft>
                <a:spcPts val="100"/>
              </a:spcAft>
            </a:pPr>
            <a:r>
              <a:rPr lang="en-US" sz="900" dirty="0">
                <a:solidFill>
                  <a:srgbClr val="FF0000"/>
                </a:solidFill>
              </a:rPr>
              <a:t>01/08/16</a:t>
            </a:r>
          </a:p>
          <a:p>
            <a:pPr fontAlgn="ctr">
              <a:spcAft>
                <a:spcPts val="100"/>
              </a:spcAft>
            </a:pPr>
            <a:endParaRPr lang="en-US" sz="800" dirty="0" smtClean="0"/>
          </a:p>
          <a:p>
            <a:pPr fontAlgn="ctr">
              <a:spcAft>
                <a:spcPts val="100"/>
              </a:spcAft>
            </a:pPr>
            <a:r>
              <a:rPr lang="en-US" sz="900" dirty="0"/>
              <a:t>05/02/17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chemeClr val="tx2"/>
                </a:solidFill>
              </a:rPr>
              <a:t>07/17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chemeClr val="tx2"/>
                </a:solidFill>
              </a:rPr>
              <a:t>11/06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chemeClr val="tx2"/>
                </a:solidFill>
              </a:rPr>
              <a:t>11/30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chemeClr val="tx2"/>
                </a:solidFill>
              </a:rPr>
              <a:t>04/04/17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chemeClr val="tx2"/>
                </a:solidFill>
              </a:rPr>
              <a:t>05/02/17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/>
              <a:t>Ongoing</a:t>
            </a:r>
            <a:endParaRPr lang="en-US" sz="900" dirty="0" smtClean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/>
              <a:t>04/01/16</a:t>
            </a:r>
          </a:p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/>
              <a:t>09/30/16</a:t>
            </a:r>
          </a:p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/>
              <a:t>12/18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/>
              <a:t>01/02/17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/>
              <a:t>04/04/17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>
              <a:solidFill>
                <a:schemeClr val="accent1"/>
              </a:solidFill>
            </a:endParaRPr>
          </a:p>
          <a:p>
            <a:pPr fontAlgn="ctr">
              <a:spcAft>
                <a:spcPts val="100"/>
              </a:spcAft>
            </a:pPr>
            <a:endParaRPr lang="en-US" sz="800" dirty="0"/>
          </a:p>
        </p:txBody>
      </p:sp>
      <p:sp>
        <p:nvSpPr>
          <p:cNvPr id="44" name="Rectangle 95"/>
          <p:cNvSpPr txBox="1">
            <a:spLocks/>
          </p:cNvSpPr>
          <p:nvPr/>
        </p:nvSpPr>
        <p:spPr>
          <a:xfrm>
            <a:off x="7369491" y="1023152"/>
            <a:ext cx="548640" cy="4984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/>
              <a:t>07/15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chemeClr val="tx2"/>
                </a:solidFill>
              </a:rPr>
              <a:t>07/15/15</a:t>
            </a:r>
          </a:p>
          <a:p>
            <a:pPr marL="0" lvl="1" indent="0">
              <a:buClr>
                <a:srgbClr val="FF0000"/>
              </a:buClr>
              <a:buNone/>
            </a:pPr>
            <a:endParaRPr lang="en-GB" sz="900" dirty="0">
              <a:solidFill>
                <a:schemeClr val="tx2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chemeClr val="tx2"/>
                </a:solidFill>
              </a:rPr>
              <a:t>07/15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chemeClr val="tx2"/>
                </a:solidFill>
              </a:rPr>
              <a:t>08/01/15</a:t>
            </a:r>
          </a:p>
          <a:p>
            <a:pPr marL="0" lvl="1" indent="0">
              <a:buClr>
                <a:srgbClr val="FF0000"/>
              </a:buClr>
              <a:buNone/>
            </a:pPr>
            <a:endParaRPr lang="en-GB" sz="900" dirty="0">
              <a:solidFill>
                <a:schemeClr val="tx2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chemeClr val="tx2"/>
                </a:solidFill>
              </a:rPr>
              <a:t>08/0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chemeClr val="tx2"/>
                </a:solidFill>
              </a:rPr>
              <a:t>07/15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chemeClr val="tx2"/>
                </a:solidFill>
              </a:rPr>
              <a:t>10/0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chemeClr val="tx2"/>
                </a:solidFill>
              </a:rPr>
              <a:t>11/0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/>
              <a:t>12/01/15</a:t>
            </a:r>
          </a:p>
          <a:p>
            <a:pPr marL="0" lvl="1" indent="0"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buClr>
                <a:srgbClr val="FF0000"/>
              </a:buClr>
              <a:buNone/>
            </a:pPr>
            <a:r>
              <a:rPr lang="en-GB" sz="900" dirty="0">
                <a:solidFill>
                  <a:schemeClr val="tx2"/>
                </a:solidFill>
              </a:rPr>
              <a:t>12/01/15</a:t>
            </a:r>
          </a:p>
          <a:p>
            <a:pPr marL="0" lvl="1" indent="0">
              <a:buClr>
                <a:srgbClr val="FF0000"/>
              </a:buClr>
              <a:buNone/>
            </a:pPr>
            <a:endParaRPr lang="en-GB" sz="900" dirty="0">
              <a:solidFill>
                <a:schemeClr val="tx2"/>
              </a:solidFill>
            </a:endParaRPr>
          </a:p>
          <a:p>
            <a:pPr marL="0" lvl="1" indent="0">
              <a:buClr>
                <a:srgbClr val="FF0000"/>
              </a:buClr>
              <a:buNone/>
            </a:pPr>
            <a:r>
              <a:rPr lang="en-GB" sz="900" dirty="0">
                <a:solidFill>
                  <a:schemeClr val="tx2"/>
                </a:solidFill>
              </a:rPr>
              <a:t>01/3/16</a:t>
            </a:r>
          </a:p>
          <a:p>
            <a:pPr fontAlgn="ctr">
              <a:spcAft>
                <a:spcPts val="100"/>
              </a:spcAft>
            </a:pPr>
            <a:r>
              <a:rPr lang="en-US" sz="900" dirty="0"/>
              <a:t>02/01/16</a:t>
            </a:r>
          </a:p>
          <a:p>
            <a:pPr fontAlgn="ctr">
              <a:spcAft>
                <a:spcPts val="100"/>
              </a:spcAft>
            </a:pPr>
            <a:r>
              <a:rPr lang="en-US" sz="900" dirty="0"/>
              <a:t>07/13/15</a:t>
            </a:r>
          </a:p>
          <a:p>
            <a:pPr fontAlgn="ctr">
              <a:spcAft>
                <a:spcPts val="100"/>
              </a:spcAft>
            </a:pPr>
            <a:r>
              <a:rPr lang="en-US" sz="900" dirty="0" smtClean="0">
                <a:solidFill>
                  <a:srgbClr val="FF0000"/>
                </a:solidFill>
              </a:rPr>
              <a:t>07/13/15</a:t>
            </a:r>
          </a:p>
          <a:p>
            <a:pPr fontAlgn="ctr">
              <a:spcAft>
                <a:spcPts val="100"/>
              </a:spcAft>
            </a:pPr>
            <a:endParaRPr lang="en-US" sz="900" dirty="0"/>
          </a:p>
          <a:p>
            <a:pPr fontAlgn="ctr">
              <a:spcAft>
                <a:spcPts val="100"/>
              </a:spcAft>
            </a:pPr>
            <a:r>
              <a:rPr lang="en-US" sz="900" dirty="0"/>
              <a:t>06/22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chemeClr val="tx2"/>
                </a:solidFill>
              </a:rPr>
              <a:t>06/22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chemeClr val="tx2"/>
                </a:solidFill>
              </a:rPr>
              <a:t>07/13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chemeClr val="tx2"/>
                </a:solidFill>
              </a:rPr>
              <a:t>07/13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chemeClr val="tx2"/>
                </a:solidFill>
              </a:rPr>
              <a:t>11/09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chemeClr val="tx2"/>
                </a:solidFill>
              </a:rPr>
              <a:t>11/10/16</a:t>
            </a:r>
          </a:p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/>
              <a:t>01/25/16</a:t>
            </a:r>
            <a:endParaRPr lang="en-US" sz="900" dirty="0" smtClean="0">
              <a:solidFill>
                <a:schemeClr val="accent1"/>
              </a:solidFill>
            </a:endParaRPr>
          </a:p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/>
              <a:t>02/01/16</a:t>
            </a:r>
          </a:p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/>
              <a:t>07/01/16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/>
              <a:t>06/15/16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/>
              <a:t>04/01/16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/>
              <a:t>07/01/16</a:t>
            </a:r>
          </a:p>
          <a:p>
            <a:pPr fontAlgn="ctr">
              <a:spcAft>
                <a:spcPts val="100"/>
              </a:spcAft>
            </a:pPr>
            <a:endParaRPr lang="en-US" sz="900" dirty="0"/>
          </a:p>
          <a:p>
            <a:pPr fontAlgn="ctr">
              <a:spcAft>
                <a:spcPts val="100"/>
              </a:spcAft>
            </a:pPr>
            <a:endParaRPr lang="en-US" sz="800" dirty="0"/>
          </a:p>
        </p:txBody>
      </p:sp>
      <p:sp>
        <p:nvSpPr>
          <p:cNvPr id="45" name="Rectangle 95"/>
          <p:cNvSpPr txBox="1">
            <a:spLocks/>
          </p:cNvSpPr>
          <p:nvPr/>
        </p:nvSpPr>
        <p:spPr>
          <a:xfrm>
            <a:off x="8977882" y="1041441"/>
            <a:ext cx="849697" cy="4642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Clr>
                <a:srgbClr val="FF0000"/>
              </a:buClr>
              <a:buNone/>
            </a:pPr>
            <a:r>
              <a:rPr lang="en-GB" sz="900" dirty="0" smtClean="0"/>
              <a:t>Gunn</a:t>
            </a:r>
            <a:endParaRPr lang="en-GB" sz="900" dirty="0"/>
          </a:p>
          <a:p>
            <a:pPr marL="0" lvl="1" indent="0">
              <a:buClr>
                <a:srgbClr val="FF0000"/>
              </a:buClr>
              <a:buNone/>
            </a:pPr>
            <a:endParaRPr lang="en-GB" sz="900" dirty="0"/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/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/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/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/>
          </a:p>
          <a:p>
            <a:pPr marL="0" lvl="1" indent="0">
              <a:buClr>
                <a:srgbClr val="FF0000"/>
              </a:buClr>
              <a:buNone/>
            </a:pPr>
            <a:endParaRPr lang="en-GB" sz="900" dirty="0"/>
          </a:p>
          <a:p>
            <a:pPr marL="0" lvl="1" indent="0">
              <a:buClr>
                <a:srgbClr val="FF0000"/>
              </a:buClr>
              <a:buNone/>
            </a:pPr>
            <a:endParaRPr lang="en-GB" sz="900" dirty="0"/>
          </a:p>
          <a:p>
            <a:pPr marL="0" lvl="1" indent="0">
              <a:buClr>
                <a:srgbClr val="FF0000"/>
              </a:buClr>
              <a:buNone/>
            </a:pPr>
            <a:endParaRPr lang="en-GB" sz="900" dirty="0"/>
          </a:p>
          <a:p>
            <a:pPr marL="0" lvl="1" indent="0">
              <a:spcAft>
                <a:spcPts val="300"/>
              </a:spcAft>
              <a:buClr>
                <a:srgbClr val="FF0000"/>
              </a:buClr>
              <a:buNone/>
            </a:pPr>
            <a:endParaRPr lang="en-GB" sz="900" dirty="0"/>
          </a:p>
          <a:p>
            <a:pPr marL="0" lvl="1" indent="0">
              <a:buClr>
                <a:srgbClr val="FF0000"/>
              </a:buClr>
              <a:buNone/>
            </a:pPr>
            <a:endParaRPr lang="en-GB" sz="900" dirty="0"/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 smtClean="0"/>
              <a:t>Gunn</a:t>
            </a:r>
            <a:endParaRPr lang="en-GB" sz="900" dirty="0"/>
          </a:p>
          <a:p>
            <a:pPr marL="0" lvl="1" indent="0">
              <a:buClr>
                <a:srgbClr val="FF0000"/>
              </a:buClr>
              <a:buNone/>
            </a:pPr>
            <a:endParaRPr lang="en-GB" sz="900" dirty="0"/>
          </a:p>
          <a:p>
            <a:pPr marL="0" lvl="1" indent="0">
              <a:buClr>
                <a:srgbClr val="FF0000"/>
              </a:buClr>
              <a:buNone/>
            </a:pPr>
            <a:endParaRPr lang="en-GB" sz="900" dirty="0"/>
          </a:p>
          <a:p>
            <a:pPr marL="0" lvl="1" indent="0">
              <a:buClr>
                <a:srgbClr val="FF0000"/>
              </a:buClr>
              <a:buNone/>
            </a:pPr>
            <a:endParaRPr lang="en-GB" sz="900" dirty="0"/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/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/>
              <a:t>Gunn</a:t>
            </a:r>
            <a:endParaRPr lang="en-US" sz="900" dirty="0"/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/>
              <a:t>Gunn</a:t>
            </a:r>
            <a:endParaRPr lang="en-US" sz="900" dirty="0"/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/>
              <a:t>Gunn</a:t>
            </a:r>
            <a:endParaRPr lang="en-US" sz="900" dirty="0"/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/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/>
              <a:t>Gunn</a:t>
            </a:r>
            <a:r>
              <a:rPr lang="en-US" sz="900" dirty="0"/>
              <a:t> 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/>
          </a:p>
          <a:p>
            <a:pPr marL="0" lvl="1" indent="0"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/>
          </a:p>
          <a:p>
            <a:pPr marL="0" lvl="1" indent="0"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/>
          </a:p>
          <a:p>
            <a:pPr marL="0" lvl="1" indent="0"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/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/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/>
              <a:t>Gunn</a:t>
            </a:r>
            <a:endParaRPr lang="en-US" dirty="0"/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/>
              <a:t>Gunn 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/>
              <a:t>Gunn 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/>
              <a:t>Gunn/ </a:t>
            </a:r>
            <a:r>
              <a:rPr lang="en-US" sz="900" dirty="0" err="1"/>
              <a:t>Briongos</a:t>
            </a:r>
            <a:r>
              <a:rPr lang="en-US" sz="900" dirty="0"/>
              <a:t> 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/>
              <a:t>Gunn/ </a:t>
            </a:r>
            <a:r>
              <a:rPr lang="en-US" sz="900" dirty="0" err="1"/>
              <a:t>Briongos</a:t>
            </a:r>
            <a:r>
              <a:rPr lang="en-US" sz="900" dirty="0"/>
              <a:t> 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/>
              <a:t>Gunn/ </a:t>
            </a:r>
            <a:r>
              <a:rPr lang="en-US" sz="900" dirty="0" err="1"/>
              <a:t>Briongos</a:t>
            </a:r>
            <a:r>
              <a:rPr lang="en-US" sz="900" dirty="0"/>
              <a:t> </a:t>
            </a:r>
          </a:p>
        </p:txBody>
      </p:sp>
      <p:sp>
        <p:nvSpPr>
          <p:cNvPr id="55" name="Rectangle 5"/>
          <p:cNvSpPr txBox="1">
            <a:spLocks/>
          </p:cNvSpPr>
          <p:nvPr/>
        </p:nvSpPr>
        <p:spPr>
          <a:xfrm>
            <a:off x="1430456" y="826352"/>
            <a:ext cx="584120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Deliverables / milestones</a:t>
            </a:r>
            <a:endParaRPr lang="en-US" sz="900" b="1" dirty="0"/>
          </a:p>
        </p:txBody>
      </p:sp>
      <p:sp>
        <p:nvSpPr>
          <p:cNvPr id="56" name="Rectangle 5"/>
          <p:cNvSpPr txBox="1">
            <a:spLocks/>
          </p:cNvSpPr>
          <p:nvPr/>
        </p:nvSpPr>
        <p:spPr>
          <a:xfrm>
            <a:off x="8015964" y="826352"/>
            <a:ext cx="86408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Finish</a:t>
            </a:r>
            <a:endParaRPr lang="en-US" sz="900" b="1" dirty="0"/>
          </a:p>
        </p:txBody>
      </p:sp>
      <p:sp>
        <p:nvSpPr>
          <p:cNvPr id="57" name="Rectangle 5"/>
          <p:cNvSpPr txBox="1">
            <a:spLocks/>
          </p:cNvSpPr>
          <p:nvPr/>
        </p:nvSpPr>
        <p:spPr>
          <a:xfrm>
            <a:off x="361217" y="826352"/>
            <a:ext cx="95020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ub-workstream</a:t>
            </a:r>
            <a:endParaRPr lang="en-US" sz="900" b="1" dirty="0"/>
          </a:p>
        </p:txBody>
      </p:sp>
      <p:cxnSp>
        <p:nvCxnSpPr>
          <p:cNvPr id="60" name="Straight Connector 59"/>
          <p:cNvCxnSpPr>
            <a:cxnSpLocks/>
          </p:cNvCxnSpPr>
          <p:nvPr/>
        </p:nvCxnSpPr>
        <p:spPr bwMode="auto">
          <a:xfrm>
            <a:off x="1430456" y="991872"/>
            <a:ext cx="5841202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Straight Connector 60"/>
          <p:cNvCxnSpPr>
            <a:cxnSpLocks/>
          </p:cNvCxnSpPr>
          <p:nvPr/>
        </p:nvCxnSpPr>
        <p:spPr bwMode="auto">
          <a:xfrm>
            <a:off x="8015964" y="991872"/>
            <a:ext cx="864085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5" name="Rectangle 5"/>
          <p:cNvSpPr txBox="1">
            <a:spLocks/>
          </p:cNvSpPr>
          <p:nvPr/>
        </p:nvSpPr>
        <p:spPr>
          <a:xfrm>
            <a:off x="7369491" y="826352"/>
            <a:ext cx="54864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tart</a:t>
            </a:r>
            <a:endParaRPr lang="en-US" sz="900" b="1" dirty="0"/>
          </a:p>
        </p:txBody>
      </p:sp>
      <p:cxnSp>
        <p:nvCxnSpPr>
          <p:cNvPr id="66" name="Straight Connector 65"/>
          <p:cNvCxnSpPr>
            <a:cxnSpLocks/>
          </p:cNvCxnSpPr>
          <p:nvPr/>
        </p:nvCxnSpPr>
        <p:spPr bwMode="auto">
          <a:xfrm>
            <a:off x="7369491" y="991872"/>
            <a:ext cx="548640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7" name="Rectangle 5"/>
          <p:cNvSpPr txBox="1">
            <a:spLocks/>
          </p:cNvSpPr>
          <p:nvPr/>
        </p:nvSpPr>
        <p:spPr>
          <a:xfrm>
            <a:off x="8977882" y="826352"/>
            <a:ext cx="91336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Owner</a:t>
            </a:r>
            <a:endParaRPr lang="en-US" sz="900" b="1" dirty="0"/>
          </a:p>
        </p:txBody>
      </p:sp>
      <p:cxnSp>
        <p:nvCxnSpPr>
          <p:cNvPr id="68" name="Straight Connector 67"/>
          <p:cNvCxnSpPr>
            <a:cxnSpLocks/>
          </p:cNvCxnSpPr>
          <p:nvPr/>
        </p:nvCxnSpPr>
        <p:spPr bwMode="auto">
          <a:xfrm>
            <a:off x="8962642" y="991872"/>
            <a:ext cx="913369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Rectangle 3"/>
          <p:cNvSpPr txBox="1"/>
          <p:nvPr/>
        </p:nvSpPr>
        <p:spPr>
          <a:xfrm>
            <a:off x="280988" y="6023710"/>
            <a:ext cx="949325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lvl="1" indent="0">
              <a:spcAft>
                <a:spcPts val="100"/>
              </a:spcAft>
              <a:buClr>
                <a:schemeClr val="accent1"/>
              </a:buClr>
              <a:buNone/>
            </a:pPr>
            <a:r>
              <a:rPr lang="en-US" sz="800" dirty="0"/>
              <a:t>1 </a:t>
            </a:r>
            <a:r>
              <a:rPr lang="en-US" sz="800" dirty="0" smtClean="0"/>
              <a:t>Implementation finish date may be refined during the design phase</a:t>
            </a:r>
            <a:endParaRPr lang="en-US" sz="800" dirty="0"/>
          </a:p>
        </p:txBody>
      </p:sp>
      <p:sp>
        <p:nvSpPr>
          <p:cNvPr id="28" name="Rectangle 95"/>
          <p:cNvSpPr txBox="1">
            <a:spLocks/>
          </p:cNvSpPr>
          <p:nvPr/>
        </p:nvSpPr>
        <p:spPr>
          <a:xfrm>
            <a:off x="1430456" y="1023153"/>
            <a:ext cx="5841202" cy="4841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/>
              <a:t>Draft </a:t>
            </a:r>
            <a:r>
              <a:rPr lang="en-US" sz="900" dirty="0"/>
              <a:t>overarching Governance and Oversight Framework Document for </a:t>
            </a:r>
            <a:r>
              <a:rPr lang="en-US" sz="900" dirty="0" smtClean="0"/>
              <a:t>SHUSA</a:t>
            </a:r>
            <a:r>
              <a:rPr lang="en-US" sz="900" baseline="30000" dirty="0" smtClean="0"/>
              <a:t>1</a:t>
            </a:r>
            <a:r>
              <a:rPr lang="en-US" sz="900" dirty="0" smtClean="0"/>
              <a:t>; </a:t>
            </a:r>
            <a:r>
              <a:rPr lang="en-US" sz="900" dirty="0"/>
              <a:t>syndicate and finalize</a:t>
            </a:r>
          </a:p>
          <a:p>
            <a:pPr marL="399105" lvl="2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chemeClr val="tx2"/>
                </a:solidFill>
              </a:rPr>
              <a:t>Establish core principles for governance and oversight of SHUSA and its subsidiaries, including role of and interactions with the </a:t>
            </a:r>
            <a:r>
              <a:rPr lang="en-US" sz="900" dirty="0" smtClean="0">
                <a:solidFill>
                  <a:schemeClr val="tx2"/>
                </a:solidFill>
              </a:rPr>
              <a:t>holding company</a:t>
            </a:r>
            <a:endParaRPr lang="en-US" sz="900" dirty="0">
              <a:solidFill>
                <a:schemeClr val="tx2"/>
              </a:solidFill>
            </a:endParaRPr>
          </a:p>
          <a:p>
            <a:pPr marL="399105" lvl="2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chemeClr val="tx2"/>
                </a:solidFill>
              </a:rPr>
              <a:t>Define </a:t>
            </a:r>
            <a:r>
              <a:rPr lang="en-US" sz="900" dirty="0">
                <a:solidFill>
                  <a:schemeClr val="tx2"/>
                </a:solidFill>
              </a:rPr>
              <a:t>target state committee </a:t>
            </a:r>
            <a:r>
              <a:rPr lang="en-US" sz="900" dirty="0" smtClean="0">
                <a:solidFill>
                  <a:schemeClr val="tx2"/>
                </a:solidFill>
              </a:rPr>
              <a:t>structure including Board and Management committees</a:t>
            </a:r>
          </a:p>
          <a:p>
            <a:pPr marL="399105" lvl="2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chemeClr val="tx2"/>
                </a:solidFill>
              </a:rPr>
              <a:t>Articulate </a:t>
            </a:r>
            <a:r>
              <a:rPr lang="en-US" sz="900" dirty="0">
                <a:solidFill>
                  <a:schemeClr val="tx2"/>
                </a:solidFill>
              </a:rPr>
              <a:t>committee compositions, roles, decision rights, delegation of authority and distribution of responsibilities between the Group, SHUSA and its subsidiaries</a:t>
            </a:r>
          </a:p>
          <a:p>
            <a:pPr marL="399105" lvl="2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chemeClr val="tx2"/>
                </a:solidFill>
              </a:rPr>
              <a:t>Document the overarching organization structure of SHUSA and its subsidiaries including reporting lines</a:t>
            </a:r>
          </a:p>
          <a:p>
            <a:pPr marL="399105" lvl="2" indent="-117475">
              <a:spcAft>
                <a:spcPts val="100"/>
              </a:spcAft>
              <a:buClr>
                <a:srgbClr val="FF0000"/>
              </a:buClr>
            </a:pPr>
            <a:r>
              <a:rPr lang="en-GB" sz="900" dirty="0">
                <a:solidFill>
                  <a:schemeClr val="tx2"/>
                </a:solidFill>
              </a:rPr>
              <a:t>Develop policy framework, establish overall policies including guidelines for approval of policies</a:t>
            </a:r>
            <a:endParaRPr lang="en-US" sz="900" dirty="0">
              <a:solidFill>
                <a:schemeClr val="tx2"/>
              </a:solidFill>
            </a:endParaRPr>
          </a:p>
          <a:p>
            <a:pPr marL="399105" lvl="2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chemeClr val="tx2"/>
                </a:solidFill>
              </a:rPr>
              <a:t>Create overarching reporting framework for the Board and Management for SHUSA and its subsidiaries</a:t>
            </a:r>
          </a:p>
          <a:p>
            <a:pPr marL="399105" lvl="2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chemeClr val="tx2"/>
                </a:solidFill>
              </a:rPr>
              <a:t>Syndicate Governance and Oversight Framework document with key stakeholders across SHUSA, the legal entities and the Corporation, incorporate refinements and </a:t>
            </a:r>
            <a:r>
              <a:rPr lang="en-US" sz="900" dirty="0" smtClean="0">
                <a:solidFill>
                  <a:schemeClr val="tx2"/>
                </a:solidFill>
              </a:rPr>
              <a:t>finalize</a:t>
            </a:r>
            <a:endParaRPr lang="en-US" sz="900" dirty="0">
              <a:solidFill>
                <a:schemeClr val="tx2"/>
              </a:solidFill>
            </a:endParaRP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/>
              <a:t>Conduct gap analysis against the overarching Governance and Oversight Framework document, identify gaps and develop multi-year execution plans</a:t>
            </a:r>
          </a:p>
          <a:p>
            <a:pPr marL="399105" lvl="2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chemeClr val="tx2"/>
                </a:solidFill>
              </a:rPr>
              <a:t>Conduct gap analysis against the target state governance and committee structure, organization and roles, decision rights, delegation of responsibilities, policy framework and reporting</a:t>
            </a:r>
          </a:p>
          <a:p>
            <a:pPr marL="399105" lvl="2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chemeClr val="tx2"/>
                </a:solidFill>
              </a:rPr>
              <a:t>Establish comprehensive implementation plans to address these gaps over a multi-year </a:t>
            </a:r>
            <a:r>
              <a:rPr lang="en-US" sz="900" dirty="0" smtClean="0">
                <a:solidFill>
                  <a:schemeClr val="tx2"/>
                </a:solidFill>
              </a:rPr>
              <a:t>period</a:t>
            </a:r>
            <a:endParaRPr lang="en-US" sz="900" spc="-10" dirty="0" smtClean="0">
              <a:solidFill>
                <a:schemeClr val="tx2"/>
              </a:solidFill>
            </a:endParaRPr>
          </a:p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 smtClean="0"/>
              <a:t>Execute against multi-year plan for Risk Transformation</a:t>
            </a:r>
          </a:p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 smtClean="0"/>
              <a:t>Implement routine Risk-Business reviews with standardized materials and reports</a:t>
            </a:r>
          </a:p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 smtClean="0">
                <a:solidFill>
                  <a:srgbClr val="000000"/>
                </a:solidFill>
              </a:rPr>
              <a:t>Enhance </a:t>
            </a:r>
            <a:r>
              <a:rPr lang="en-US" sz="900" spc="-10" dirty="0">
                <a:solidFill>
                  <a:srgbClr val="000000"/>
                </a:solidFill>
              </a:rPr>
              <a:t>top of the house risk policies with clear articulation of roles </a:t>
            </a:r>
            <a:r>
              <a:rPr lang="en-US" sz="900" spc="-10" dirty="0" smtClean="0">
                <a:solidFill>
                  <a:srgbClr val="000000"/>
                </a:solidFill>
              </a:rPr>
              <a:t>and responsibilities across </a:t>
            </a:r>
            <a:r>
              <a:rPr lang="en-US" sz="900" spc="-10" dirty="0">
                <a:solidFill>
                  <a:srgbClr val="000000"/>
                </a:solidFill>
              </a:rPr>
              <a:t>the </a:t>
            </a:r>
            <a:r>
              <a:rPr lang="en-US" sz="900" spc="-10" dirty="0" smtClean="0">
                <a:solidFill>
                  <a:srgbClr val="000000"/>
                </a:solidFill>
              </a:rPr>
              <a:t>Three Lines of Defense (3 LOD)</a:t>
            </a:r>
            <a:endParaRPr lang="en-US" sz="900" spc="-10" dirty="0">
              <a:solidFill>
                <a:srgbClr val="000000"/>
              </a:solidFill>
            </a:endParaRPr>
          </a:p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Design </a:t>
            </a:r>
            <a:r>
              <a:rPr lang="en-US" sz="900" spc="-10" dirty="0" smtClean="0">
                <a:solidFill>
                  <a:srgbClr val="000000"/>
                </a:solidFill>
              </a:rPr>
              <a:t>Operating Model </a:t>
            </a:r>
            <a:r>
              <a:rPr lang="en-US" sz="900" spc="-10" dirty="0">
                <a:solidFill>
                  <a:srgbClr val="000000"/>
                </a:solidFill>
              </a:rPr>
              <a:t>across Risk types aligned with principles </a:t>
            </a:r>
            <a:r>
              <a:rPr lang="en-US" sz="900" spc="-10" dirty="0" smtClean="0">
                <a:solidFill>
                  <a:srgbClr val="000000"/>
                </a:solidFill>
              </a:rPr>
              <a:t>of 3 </a:t>
            </a:r>
            <a:r>
              <a:rPr lang="en-US" sz="900" spc="-10" dirty="0">
                <a:solidFill>
                  <a:srgbClr val="000000"/>
                </a:solidFill>
              </a:rPr>
              <a:t>LOD, develop rollout plans </a:t>
            </a:r>
            <a:r>
              <a:rPr lang="en-US" sz="900" spc="-10" dirty="0"/>
              <a:t>and implement</a:t>
            </a:r>
          </a:p>
          <a:p>
            <a:pPr marL="456885" lvl="3" indent="-17145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anose="020B0604020202020204" pitchFamily="34" charset="0"/>
              <a:buChar char="̶"/>
            </a:pPr>
            <a:r>
              <a:rPr lang="en-US" sz="900" dirty="0">
                <a:solidFill>
                  <a:schemeClr val="tx2"/>
                </a:solidFill>
              </a:rPr>
              <a:t>Review of existing 1st </a:t>
            </a:r>
            <a:r>
              <a:rPr lang="en-US" sz="900" dirty="0" err="1">
                <a:solidFill>
                  <a:schemeClr val="tx2"/>
                </a:solidFill>
              </a:rPr>
              <a:t>LoD</a:t>
            </a:r>
            <a:r>
              <a:rPr lang="en-US" sz="900" dirty="0">
                <a:solidFill>
                  <a:schemeClr val="tx2"/>
                </a:solidFill>
              </a:rPr>
              <a:t> structure and capabilities </a:t>
            </a:r>
          </a:p>
          <a:p>
            <a:pPr marL="456885" lvl="3" indent="-17145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anose="020B0604020202020204" pitchFamily="34" charset="0"/>
              <a:buChar char="̶"/>
            </a:pPr>
            <a:r>
              <a:rPr lang="en-US" sz="900" dirty="0">
                <a:solidFill>
                  <a:schemeClr val="tx2"/>
                </a:solidFill>
              </a:rPr>
              <a:t>Design detailed operating model and implementation plans for all risk types ex. Op risk</a:t>
            </a:r>
          </a:p>
          <a:p>
            <a:pPr marL="456885" lvl="3" indent="-17145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anose="020B0604020202020204" pitchFamily="34" charset="0"/>
              <a:buChar char="̶"/>
            </a:pPr>
            <a:r>
              <a:rPr lang="en-US" sz="900" dirty="0">
                <a:solidFill>
                  <a:schemeClr val="tx2"/>
                </a:solidFill>
              </a:rPr>
              <a:t>Design detailed operating model and implementation plans for Op Risk</a:t>
            </a:r>
          </a:p>
          <a:p>
            <a:pPr marL="456885" lvl="3" indent="-17145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anose="020B0604020202020204" pitchFamily="34" charset="0"/>
              <a:buChar char="̶"/>
            </a:pPr>
            <a:r>
              <a:rPr lang="en-US" sz="900" dirty="0">
                <a:solidFill>
                  <a:schemeClr val="tx2"/>
                </a:solidFill>
              </a:rPr>
              <a:t>Implement the redesigned Operating Model for all the risks</a:t>
            </a:r>
          </a:p>
          <a:p>
            <a:pPr marL="456885" lvl="3" indent="-17145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anose="020B0604020202020204" pitchFamily="34" charset="0"/>
              <a:buChar char="̶"/>
            </a:pPr>
            <a:r>
              <a:rPr lang="en-US" sz="900" dirty="0">
                <a:solidFill>
                  <a:schemeClr val="tx2"/>
                </a:solidFill>
              </a:rPr>
              <a:t>1st/2nd/3rd  Round Post Implementation Review</a:t>
            </a:r>
          </a:p>
          <a:p>
            <a:pPr marL="118800" lvl="1" indent="-118800" fontAlgn="ctr"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 smtClean="0">
                <a:solidFill>
                  <a:srgbClr val="000000"/>
                </a:solidFill>
              </a:rPr>
              <a:t>Rollout </a:t>
            </a:r>
            <a:r>
              <a:rPr lang="en-US" sz="900" spc="-10" dirty="0">
                <a:solidFill>
                  <a:srgbClr val="000000"/>
                </a:solidFill>
              </a:rPr>
              <a:t>communication and training for organizational changes related to 3 </a:t>
            </a:r>
            <a:r>
              <a:rPr lang="en-US" sz="900" spc="-10" dirty="0" smtClean="0">
                <a:solidFill>
                  <a:srgbClr val="000000"/>
                </a:solidFill>
              </a:rPr>
              <a:t>LOD</a:t>
            </a:r>
          </a:p>
          <a:p>
            <a:pPr marL="118800" lvl="1" indent="-118800" fontAlgn="ctr"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/>
              <a:t>Articulate desired risk culture by setting the “Tone from the Top” and conducting a risk culture assessment </a:t>
            </a:r>
          </a:p>
          <a:p>
            <a:pPr marL="118800" lvl="1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/>
              <a:t>Define multiyear plan to achieve a sound target state risk culture </a:t>
            </a:r>
          </a:p>
          <a:p>
            <a:pPr marL="118800" lvl="1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/>
              <a:t>Assess existing Risk Management Performance Scorecards and identify gaps</a:t>
            </a:r>
          </a:p>
          <a:p>
            <a:pPr marL="118800" lvl="1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/>
              <a:t>Rollout systematic performance assessments and risk-based compensation structures</a:t>
            </a:r>
          </a:p>
          <a:p>
            <a:pPr marL="118800" lvl="1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/>
              <a:t>Diagnose retention challenge and design recruitment and retention mechanisms </a:t>
            </a:r>
          </a:p>
          <a:p>
            <a:pPr marL="118800" lvl="1" indent="-118800" fontAlgn="ctr">
              <a:spcAft>
                <a:spcPts val="100"/>
              </a:spcAft>
              <a:buClr>
                <a:schemeClr val="accent1"/>
              </a:buClr>
            </a:pPr>
            <a:endParaRPr lang="en-US" sz="900" spc="-1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7033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d&lt;/m_strFormatTime&gt;&lt;/m_precDefaultDay&gt;&lt;m_mruColor&gt;&lt;m_vecMRU length=&quot;1&quot;&gt;&lt;elem m_fUsage=&quot;1.00000000000000000000E+000&quot;&gt;&lt;m_msothmcolidx val=&quot;0&quot;/&gt;&lt;m_rgb r=&quot;ff&quot; g=&quot;82&quot; b=&quot;82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True"/>
  <p:tag name="PREVIOUSNAME" val="C:\Users\Alexis Trittipo\Documents\2015.07 Santander Risk Transformation\July 15 submission\Post Board versions\Sent to Board on Monday July 13\FINALS\20150715vF - CART program execution plan summary view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heme/theme1.xml><?xml version="1.0" encoding="utf-8"?>
<a:theme xmlns:a="http://schemas.openxmlformats.org/drawingml/2006/main" name="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5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_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2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3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2_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Santander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000000"/>
      </a:hlink>
      <a:folHlink>
        <a:srgbClr val="292929"/>
      </a:folHlink>
    </a:clrScheme>
    <a:fontScheme name="1_SovSan_Template_US">
      <a:majorFont>
        <a:latin typeface="Arial Bold"/>
        <a:ea typeface="ＭＳ Ｐゴシック"/>
        <a:cs typeface="ＭＳ Ｐゴシック"/>
      </a:majorFont>
      <a:minorFont>
        <a:latin typeface="Arial Bold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4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6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7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8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9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0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1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2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3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4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2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4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Santander_CF_HCS255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0000"/>
      </a:accent1>
      <a:accent2>
        <a:srgbClr val="FAAF25"/>
      </a:accent2>
      <a:accent3>
        <a:srgbClr val="000000"/>
      </a:accent3>
      <a:accent4>
        <a:srgbClr val="969696"/>
      </a:accent4>
      <a:accent5>
        <a:srgbClr val="770000"/>
      </a:accent5>
      <a:accent6>
        <a:srgbClr val="808080"/>
      </a:accent6>
      <a:hlink>
        <a:srgbClr val="000000"/>
      </a:hlink>
      <a:folHlink>
        <a:srgbClr val="96969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AAF25"/>
        </a:accent2>
        <a:accent3>
          <a:srgbClr val="000000"/>
        </a:accent3>
        <a:accent4>
          <a:srgbClr val="969696"/>
        </a:accent4>
        <a:accent5>
          <a:srgbClr val="770000"/>
        </a:accent5>
        <a:accent6>
          <a:srgbClr val="808080"/>
        </a:accent6>
        <a:hlink>
          <a:srgbClr val="00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_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2_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Custom Design">
  <a:themeElements>
    <a:clrScheme name="Custom 1">
      <a:dk1>
        <a:sysClr val="windowText" lastClr="000000"/>
      </a:dk1>
      <a:lt1>
        <a:sysClr val="window" lastClr="FFFFFF"/>
      </a:lt1>
      <a:dk2>
        <a:srgbClr val="FF0000"/>
      </a:dk2>
      <a:lt2>
        <a:srgbClr val="FFFFFF"/>
      </a:lt2>
      <a:accent1>
        <a:srgbClr val="262626"/>
      </a:accent1>
      <a:accent2>
        <a:srgbClr val="3F3F3F"/>
      </a:accent2>
      <a:accent3>
        <a:srgbClr val="7F7F7F"/>
      </a:accent3>
      <a:accent4>
        <a:srgbClr val="7F7F7F"/>
      </a:accent4>
      <a:accent5>
        <a:srgbClr val="FFFFFF"/>
      </a:accent5>
      <a:accent6>
        <a:srgbClr val="FF6566"/>
      </a:accent6>
      <a:hlink>
        <a:srgbClr val="FF0000"/>
      </a:hlink>
      <a:folHlink>
        <a:srgbClr val="BF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grpFill/>
        <a:ln w="9525">
          <a:noFill/>
          <a:miter lim="800000"/>
          <a:headEnd/>
          <a:tailEnd/>
        </a:ln>
        <a:effectLst>
          <a:prstShdw prst="shdw18" dist="17961" dir="13500000">
            <a:schemeClr val="accent1">
              <a:gamma/>
              <a:shade val="60000"/>
              <a:invGamma/>
            </a:schemeClr>
          </a:prstShdw>
        </a:effectLst>
      </a:spPr>
      <a:bodyPr wrap="none" anchor="ctr">
        <a:noAutofit/>
      </a:bodyPr>
      <a:lstStyle>
        <a:defPPr>
          <a:defRPr dirty="0" smtClean="0">
            <a:solidFill>
              <a:schemeClr val="bg1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antander_CUF_HCS218</Template>
  <TotalTime>0</TotalTime>
  <Words>813</Words>
  <Application>Microsoft Office PowerPoint</Application>
  <PresentationFormat>35mm Slides</PresentationFormat>
  <Paragraphs>233</Paragraphs>
  <Slides>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24" baseType="lpstr">
      <vt:lpstr>Santander_CUF_HCS218</vt:lpstr>
      <vt:lpstr>1_Santander_CUF_HCS218</vt:lpstr>
      <vt:lpstr>7 Storyboard Report</vt:lpstr>
      <vt:lpstr>1_7 Storyboard Report</vt:lpstr>
      <vt:lpstr>2_7 Storyboard Report</vt:lpstr>
      <vt:lpstr>2_Santander_CUF_HCS218</vt:lpstr>
      <vt:lpstr>Santander Teme</vt:lpstr>
      <vt:lpstr>3_Santander_CUF_HCS218</vt:lpstr>
      <vt:lpstr>1_Custom Design</vt:lpstr>
      <vt:lpstr>1_Santander Teme</vt:lpstr>
      <vt:lpstr>Diseño personalizado</vt:lpstr>
      <vt:lpstr>5_Santander_CUF_HCS218</vt:lpstr>
      <vt:lpstr>1_Diseño personalizado</vt:lpstr>
      <vt:lpstr>Santander_CF_HCS028</vt:lpstr>
      <vt:lpstr>1_Santander_CF_HCS028</vt:lpstr>
      <vt:lpstr>2_Santander_CF_HCS028</vt:lpstr>
      <vt:lpstr>3_Santander_CF_HCS028</vt:lpstr>
      <vt:lpstr>2_Santander Teme</vt:lpstr>
      <vt:lpstr>Santander</vt:lpstr>
      <vt:lpstr>4_Santander_CUF_HCS218</vt:lpstr>
      <vt:lpstr>Santander_CF_HCS255</vt:lpstr>
      <vt:lpstr>think-cell Slide</vt:lpstr>
      <vt:lpstr>Index of Change</vt:lpstr>
      <vt:lpstr>Risk Transformation project plan (1/4)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10-09T13:15:44Z</dcterms:created>
  <dcterms:modified xsi:type="dcterms:W3CDTF">2015-08-26T18:02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